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6"/>
  </p:notesMasterIdLst>
  <p:sldIdLst>
    <p:sldId id="257" r:id="rId2"/>
    <p:sldId id="258" r:id="rId3"/>
    <p:sldId id="266" r:id="rId4"/>
    <p:sldId id="270" r:id="rId5"/>
    <p:sldId id="271" r:id="rId6"/>
    <p:sldId id="273" r:id="rId7"/>
    <p:sldId id="298" r:id="rId8"/>
    <p:sldId id="300" r:id="rId9"/>
    <p:sldId id="267" r:id="rId10"/>
    <p:sldId id="1949" r:id="rId11"/>
    <p:sldId id="282" r:id="rId12"/>
    <p:sldId id="382" r:id="rId13"/>
    <p:sldId id="281" r:id="rId14"/>
    <p:sldId id="289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AD357"/>
    <a:srgbClr val="2FD03D"/>
    <a:srgbClr val="02F163"/>
    <a:srgbClr val="06E45E"/>
    <a:srgbClr val="09D859"/>
    <a:srgbClr val="00BF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821"/>
    <p:restoredTop sz="96327"/>
  </p:normalViewPr>
  <p:slideViewPr>
    <p:cSldViewPr snapToGrid="0" snapToObjects="1">
      <p:cViewPr varScale="1">
        <p:scale>
          <a:sx n="114" d="100"/>
          <a:sy n="114" d="100"/>
        </p:scale>
        <p:origin x="252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3">
  <dgm:title val=""/>
  <dgm:desc val=""/>
  <dgm:catLst>
    <dgm:cat type="accent3" pri="11300"/>
  </dgm:catLst>
  <dgm:styleLbl name="node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shade val="80000"/>
      </a:schemeClr>
      <a:schemeClr val="accent3">
        <a:tint val="7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/>
    <dgm:txEffectClrLst/>
  </dgm:styleLbl>
  <dgm:styleLbl name="ln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9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8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A4C498B-5209-8F44-B4AB-C5B8CC99BFCA}" type="doc">
      <dgm:prSet loTypeId="urn:microsoft.com/office/officeart/2005/8/layout/hProcess7" loCatId="" qsTypeId="urn:microsoft.com/office/officeart/2005/8/quickstyle/simple1" qsCatId="simple" csTypeId="urn:microsoft.com/office/officeart/2005/8/colors/accent3_3" csCatId="accent3" phldr="1"/>
      <dgm:spPr/>
      <dgm:t>
        <a:bodyPr/>
        <a:lstStyle/>
        <a:p>
          <a:endParaRPr lang="en-GB"/>
        </a:p>
      </dgm:t>
    </dgm:pt>
    <dgm:pt modelId="{88C7C413-191C-A34A-8BE5-C7F256E6558F}">
      <dgm:prSet phldrT="[Text]"/>
      <dgm:spPr/>
      <dgm:t>
        <a:bodyPr/>
        <a:lstStyle/>
        <a:p>
          <a:r>
            <a:rPr lang="en-GB" dirty="0"/>
            <a:t>Early 1990’s</a:t>
          </a:r>
        </a:p>
      </dgm:t>
    </dgm:pt>
    <dgm:pt modelId="{9E4B4E70-872B-B249-8FE2-616D54AF214A}" type="parTrans" cxnId="{B9357C97-034B-5748-B938-7A1114A1F487}">
      <dgm:prSet/>
      <dgm:spPr/>
      <dgm:t>
        <a:bodyPr/>
        <a:lstStyle/>
        <a:p>
          <a:endParaRPr lang="en-GB"/>
        </a:p>
      </dgm:t>
    </dgm:pt>
    <dgm:pt modelId="{66B0B398-E1F4-D743-80AC-1FA61678AF96}" type="sibTrans" cxnId="{B9357C97-034B-5748-B938-7A1114A1F487}">
      <dgm:prSet/>
      <dgm:spPr/>
      <dgm:t>
        <a:bodyPr/>
        <a:lstStyle/>
        <a:p>
          <a:endParaRPr lang="en-GB"/>
        </a:p>
      </dgm:t>
    </dgm:pt>
    <dgm:pt modelId="{3034B178-79E2-BA44-8F9A-667C9D9EEB34}">
      <dgm:prSet phldrT="[Text]" custT="1"/>
      <dgm:spPr/>
      <dgm:t>
        <a:bodyPr/>
        <a:lstStyle/>
        <a:p>
          <a:endParaRPr lang="en-GB" sz="1300" dirty="0"/>
        </a:p>
        <a:p>
          <a:endParaRPr lang="en-GB" sz="1300" dirty="0"/>
        </a:p>
        <a:p>
          <a:endParaRPr lang="en-GB" sz="1300" dirty="0"/>
        </a:p>
        <a:p>
          <a:endParaRPr lang="en-GB" sz="1300" dirty="0"/>
        </a:p>
        <a:p>
          <a:r>
            <a:rPr lang="en-GB" sz="1100" dirty="0">
              <a:latin typeface="Arial" panose="020B0604020202020204" pitchFamily="34" charset="0"/>
              <a:cs typeface="Arial" panose="020B0604020202020204" pitchFamily="34" charset="0"/>
            </a:rPr>
            <a:t>Initial contact with Sir William Wright: Consulting and Engine Projects.</a:t>
          </a:r>
        </a:p>
      </dgm:t>
    </dgm:pt>
    <dgm:pt modelId="{8BF813AB-BD0A-3749-A6BC-C6CAEF0131EF}" type="parTrans" cxnId="{B384897B-5891-1845-967C-0167C429F7D0}">
      <dgm:prSet/>
      <dgm:spPr/>
      <dgm:t>
        <a:bodyPr/>
        <a:lstStyle/>
        <a:p>
          <a:endParaRPr lang="en-GB"/>
        </a:p>
      </dgm:t>
    </dgm:pt>
    <dgm:pt modelId="{3D8950E2-1D55-574C-B17B-2694691F1847}" type="sibTrans" cxnId="{B384897B-5891-1845-967C-0167C429F7D0}">
      <dgm:prSet/>
      <dgm:spPr/>
      <dgm:t>
        <a:bodyPr/>
        <a:lstStyle/>
        <a:p>
          <a:endParaRPr lang="en-GB"/>
        </a:p>
      </dgm:t>
    </dgm:pt>
    <dgm:pt modelId="{D4C3D386-D580-E940-91FA-1E9A6949AE1B}">
      <dgm:prSet phldrT="[Text]"/>
      <dgm:spPr/>
      <dgm:t>
        <a:bodyPr/>
        <a:lstStyle/>
        <a:p>
          <a:r>
            <a:rPr lang="en-GB" dirty="0"/>
            <a:t>Early 200’s</a:t>
          </a:r>
        </a:p>
      </dgm:t>
    </dgm:pt>
    <dgm:pt modelId="{01EBC3B6-498F-4342-9C26-DB6C2275DFAD}" type="parTrans" cxnId="{15EBDBF8-73E8-AA47-AB06-1B7571E847E7}">
      <dgm:prSet/>
      <dgm:spPr/>
      <dgm:t>
        <a:bodyPr/>
        <a:lstStyle/>
        <a:p>
          <a:endParaRPr lang="en-GB"/>
        </a:p>
      </dgm:t>
    </dgm:pt>
    <dgm:pt modelId="{71CDE142-B7EA-654B-AA10-4201EFE1D2E6}" type="sibTrans" cxnId="{15EBDBF8-73E8-AA47-AB06-1B7571E847E7}">
      <dgm:prSet/>
      <dgm:spPr/>
      <dgm:t>
        <a:bodyPr/>
        <a:lstStyle/>
        <a:p>
          <a:endParaRPr lang="en-GB"/>
        </a:p>
      </dgm:t>
    </dgm:pt>
    <dgm:pt modelId="{3079EEBE-67BD-D046-A725-E562B30E0E52}">
      <dgm:prSet phldrT="[Text]"/>
      <dgm:spPr/>
      <dgm:t>
        <a:bodyPr/>
        <a:lstStyle/>
        <a:p>
          <a:r>
            <a:rPr lang="en-GB" dirty="0"/>
            <a:t>2006</a:t>
          </a:r>
        </a:p>
      </dgm:t>
    </dgm:pt>
    <dgm:pt modelId="{B7020272-53AB-C54F-B0EF-F71AE82AF2B7}" type="parTrans" cxnId="{8AEAC506-2B28-9145-9BA2-351642D7791D}">
      <dgm:prSet/>
      <dgm:spPr/>
      <dgm:t>
        <a:bodyPr/>
        <a:lstStyle/>
        <a:p>
          <a:endParaRPr lang="en-GB"/>
        </a:p>
      </dgm:t>
    </dgm:pt>
    <dgm:pt modelId="{48E18B33-C689-804F-895D-E15F27AC8E6D}" type="sibTrans" cxnId="{8AEAC506-2B28-9145-9BA2-351642D7791D}">
      <dgm:prSet/>
      <dgm:spPr/>
      <dgm:t>
        <a:bodyPr/>
        <a:lstStyle/>
        <a:p>
          <a:endParaRPr lang="en-GB"/>
        </a:p>
      </dgm:t>
    </dgm:pt>
    <dgm:pt modelId="{12346DF8-D2C5-4E49-B16E-FAD454FB6C03}">
      <dgm:prSet phldrT="[Text]"/>
      <dgm:spPr/>
      <dgm:t>
        <a:bodyPr/>
        <a:lstStyle/>
        <a:p>
          <a:r>
            <a:rPr lang="en-GB" dirty="0"/>
            <a:t>2007</a:t>
          </a:r>
        </a:p>
      </dgm:t>
    </dgm:pt>
    <dgm:pt modelId="{9921B4E7-7FC3-3743-AE09-48DA41306E9C}" type="parTrans" cxnId="{023126DD-99D7-0144-BD97-7B56D2E2DF62}">
      <dgm:prSet/>
      <dgm:spPr/>
      <dgm:t>
        <a:bodyPr/>
        <a:lstStyle/>
        <a:p>
          <a:endParaRPr lang="en-GB"/>
        </a:p>
      </dgm:t>
    </dgm:pt>
    <dgm:pt modelId="{D00E721D-FCAC-5145-918F-72A1926EFCDB}" type="sibTrans" cxnId="{023126DD-99D7-0144-BD97-7B56D2E2DF62}">
      <dgm:prSet/>
      <dgm:spPr/>
      <dgm:t>
        <a:bodyPr/>
        <a:lstStyle/>
        <a:p>
          <a:endParaRPr lang="en-GB"/>
        </a:p>
      </dgm:t>
    </dgm:pt>
    <dgm:pt modelId="{66B44317-6914-7441-8323-A918A8E3C008}">
      <dgm:prSet phldrT="[Text]"/>
      <dgm:spPr/>
      <dgm:t>
        <a:bodyPr/>
        <a:lstStyle/>
        <a:p>
          <a:r>
            <a:rPr lang="en-GB" dirty="0"/>
            <a:t>2010</a:t>
          </a:r>
        </a:p>
      </dgm:t>
    </dgm:pt>
    <dgm:pt modelId="{39A2208E-C94B-064C-BD1D-B9DA3B72C063}" type="parTrans" cxnId="{84FAF914-1A80-E544-BA73-36A7BE7249CF}">
      <dgm:prSet/>
      <dgm:spPr/>
      <dgm:t>
        <a:bodyPr/>
        <a:lstStyle/>
        <a:p>
          <a:endParaRPr lang="en-GB"/>
        </a:p>
      </dgm:t>
    </dgm:pt>
    <dgm:pt modelId="{005814A1-04F5-9846-81B7-6C18D6D4F701}" type="sibTrans" cxnId="{84FAF914-1A80-E544-BA73-36A7BE7249CF}">
      <dgm:prSet/>
      <dgm:spPr/>
      <dgm:t>
        <a:bodyPr/>
        <a:lstStyle/>
        <a:p>
          <a:endParaRPr lang="en-GB"/>
        </a:p>
      </dgm:t>
    </dgm:pt>
    <dgm:pt modelId="{C2A88ABF-E863-3446-9906-097C75B1975C}">
      <dgm:prSet phldrT="[Text]"/>
      <dgm:spPr/>
      <dgm:t>
        <a:bodyPr/>
        <a:lstStyle/>
        <a:p>
          <a:r>
            <a:rPr lang="en-GB" dirty="0"/>
            <a:t>2017</a:t>
          </a:r>
        </a:p>
      </dgm:t>
    </dgm:pt>
    <dgm:pt modelId="{694A9D2B-6F52-874A-9DC7-57A6473B189C}" type="parTrans" cxnId="{860DA3D5-0D4B-9F4A-B989-67B2608DFB58}">
      <dgm:prSet/>
      <dgm:spPr/>
      <dgm:t>
        <a:bodyPr/>
        <a:lstStyle/>
        <a:p>
          <a:endParaRPr lang="en-GB"/>
        </a:p>
      </dgm:t>
    </dgm:pt>
    <dgm:pt modelId="{858CB07D-556F-3641-9E95-4EE222648848}" type="sibTrans" cxnId="{860DA3D5-0D4B-9F4A-B989-67B2608DFB58}">
      <dgm:prSet/>
      <dgm:spPr/>
      <dgm:t>
        <a:bodyPr/>
        <a:lstStyle/>
        <a:p>
          <a:endParaRPr lang="en-GB"/>
        </a:p>
      </dgm:t>
    </dgm:pt>
    <dgm:pt modelId="{E9ADB2D9-99C5-BD44-88A7-514F888CF2D0}">
      <dgm:prSet phldrT="[Text]"/>
      <dgm:spPr/>
      <dgm:t>
        <a:bodyPr/>
        <a:lstStyle/>
        <a:p>
          <a:r>
            <a:rPr lang="en-GB" dirty="0"/>
            <a:t>2018</a:t>
          </a:r>
        </a:p>
      </dgm:t>
    </dgm:pt>
    <dgm:pt modelId="{BF023ADA-3B70-7142-A4D7-4972BDBB3B19}" type="parTrans" cxnId="{6503D1D0-F7D7-8346-8CD1-D0DFCFA86328}">
      <dgm:prSet/>
      <dgm:spPr/>
      <dgm:t>
        <a:bodyPr/>
        <a:lstStyle/>
        <a:p>
          <a:endParaRPr lang="en-GB"/>
        </a:p>
      </dgm:t>
    </dgm:pt>
    <dgm:pt modelId="{87B46669-1242-134C-85A9-E3FC84AC2C12}" type="sibTrans" cxnId="{6503D1D0-F7D7-8346-8CD1-D0DFCFA86328}">
      <dgm:prSet/>
      <dgm:spPr/>
      <dgm:t>
        <a:bodyPr/>
        <a:lstStyle/>
        <a:p>
          <a:endParaRPr lang="en-GB"/>
        </a:p>
      </dgm:t>
    </dgm:pt>
    <dgm:pt modelId="{336D3D3B-4174-D348-8FC6-1F21A588588A}">
      <dgm:prSet phldrT="[Text]"/>
      <dgm:spPr/>
      <dgm:t>
        <a:bodyPr/>
        <a:lstStyle/>
        <a:p>
          <a:r>
            <a:rPr lang="en-GB" dirty="0"/>
            <a:t>2019</a:t>
          </a:r>
        </a:p>
      </dgm:t>
    </dgm:pt>
    <dgm:pt modelId="{112A8F9A-DFEB-0D46-9F06-7B976F1C7C7C}" type="parTrans" cxnId="{E7BCEADD-6F6C-5744-90D9-1EEC73F51F8C}">
      <dgm:prSet/>
      <dgm:spPr/>
      <dgm:t>
        <a:bodyPr/>
        <a:lstStyle/>
        <a:p>
          <a:endParaRPr lang="en-GB"/>
        </a:p>
      </dgm:t>
    </dgm:pt>
    <dgm:pt modelId="{1C1C0928-D4E0-6546-91B1-205BA542214D}" type="sibTrans" cxnId="{E7BCEADD-6F6C-5744-90D9-1EEC73F51F8C}">
      <dgm:prSet/>
      <dgm:spPr/>
      <dgm:t>
        <a:bodyPr/>
        <a:lstStyle/>
        <a:p>
          <a:endParaRPr lang="en-GB"/>
        </a:p>
      </dgm:t>
    </dgm:pt>
    <dgm:pt modelId="{ED310D64-61A3-4A40-B4F1-3AE0BDA241D8}">
      <dgm:prSet phldrT="[Text]"/>
      <dgm:spPr/>
      <dgm:t>
        <a:bodyPr/>
        <a:lstStyle/>
        <a:p>
          <a:r>
            <a:rPr lang="en-GB" dirty="0"/>
            <a:t>2020</a:t>
          </a:r>
        </a:p>
      </dgm:t>
    </dgm:pt>
    <dgm:pt modelId="{569B884C-855F-FD4D-B667-14BDA76B2C6B}" type="parTrans" cxnId="{712C3A2A-6C7D-B54C-8AD7-56F73BDA6BD8}">
      <dgm:prSet/>
      <dgm:spPr/>
      <dgm:t>
        <a:bodyPr/>
        <a:lstStyle/>
        <a:p>
          <a:endParaRPr lang="en-GB"/>
        </a:p>
      </dgm:t>
    </dgm:pt>
    <dgm:pt modelId="{BAB74EB5-A639-4841-B974-9C28E3D9E4E3}" type="sibTrans" cxnId="{712C3A2A-6C7D-B54C-8AD7-56F73BDA6BD8}">
      <dgm:prSet/>
      <dgm:spPr/>
      <dgm:t>
        <a:bodyPr/>
        <a:lstStyle/>
        <a:p>
          <a:endParaRPr lang="en-GB"/>
        </a:p>
      </dgm:t>
    </dgm:pt>
    <dgm:pt modelId="{D9CA7F51-47E8-5144-A525-90AC977A09E2}">
      <dgm:prSet phldrT="[Text]"/>
      <dgm:spPr/>
      <dgm:t>
        <a:bodyPr/>
        <a:lstStyle/>
        <a:p>
          <a:r>
            <a:rPr lang="en-GB" dirty="0"/>
            <a:t>2021</a:t>
          </a:r>
        </a:p>
      </dgm:t>
    </dgm:pt>
    <dgm:pt modelId="{E60D17A7-F6B5-7A4C-A1C0-4DFDEFC89C7F}" type="parTrans" cxnId="{31956134-BFFE-2F47-899B-1750BE4A8F32}">
      <dgm:prSet/>
      <dgm:spPr/>
      <dgm:t>
        <a:bodyPr/>
        <a:lstStyle/>
        <a:p>
          <a:endParaRPr lang="en-GB"/>
        </a:p>
      </dgm:t>
    </dgm:pt>
    <dgm:pt modelId="{88889E2E-9AA1-0A4C-84CA-37D7C8BB915F}" type="sibTrans" cxnId="{31956134-BFFE-2F47-899B-1750BE4A8F32}">
      <dgm:prSet/>
      <dgm:spPr/>
      <dgm:t>
        <a:bodyPr/>
        <a:lstStyle/>
        <a:p>
          <a:endParaRPr lang="en-GB"/>
        </a:p>
      </dgm:t>
    </dgm:pt>
    <dgm:pt modelId="{D6503065-15E9-474F-B0A2-E6F3CC899A69}" type="pres">
      <dgm:prSet presAssocID="{AA4C498B-5209-8F44-B4AB-C5B8CC99BFCA}" presName="Name0" presStyleCnt="0">
        <dgm:presLayoutVars>
          <dgm:dir/>
          <dgm:animLvl val="lvl"/>
          <dgm:resizeHandles val="exact"/>
        </dgm:presLayoutVars>
      </dgm:prSet>
      <dgm:spPr/>
    </dgm:pt>
    <dgm:pt modelId="{EA005989-40BC-3D41-A59E-F9816C34FFC3}" type="pres">
      <dgm:prSet presAssocID="{88C7C413-191C-A34A-8BE5-C7F256E6558F}" presName="compositeNode" presStyleCnt="0">
        <dgm:presLayoutVars>
          <dgm:bulletEnabled val="1"/>
        </dgm:presLayoutVars>
      </dgm:prSet>
      <dgm:spPr/>
    </dgm:pt>
    <dgm:pt modelId="{B516D63D-AB5F-6247-8750-D0A3A05185BC}" type="pres">
      <dgm:prSet presAssocID="{88C7C413-191C-A34A-8BE5-C7F256E6558F}" presName="bgRect" presStyleLbl="node1" presStyleIdx="0" presStyleCnt="10" custScaleY="202230" custLinFactNeighborX="-14343" custLinFactNeighborY="1437"/>
      <dgm:spPr/>
    </dgm:pt>
    <dgm:pt modelId="{63EB0861-A24E-8240-AC11-80F4103C81C5}" type="pres">
      <dgm:prSet presAssocID="{88C7C413-191C-A34A-8BE5-C7F256E6558F}" presName="parentNode" presStyleLbl="node1" presStyleIdx="0" presStyleCnt="10">
        <dgm:presLayoutVars>
          <dgm:chMax val="0"/>
          <dgm:bulletEnabled val="1"/>
        </dgm:presLayoutVars>
      </dgm:prSet>
      <dgm:spPr/>
    </dgm:pt>
    <dgm:pt modelId="{64CAD3FB-B896-2342-8882-781CB108B4CE}" type="pres">
      <dgm:prSet presAssocID="{88C7C413-191C-A34A-8BE5-C7F256E6558F}" presName="childNode" presStyleLbl="node1" presStyleIdx="0" presStyleCnt="10">
        <dgm:presLayoutVars>
          <dgm:bulletEnabled val="1"/>
        </dgm:presLayoutVars>
      </dgm:prSet>
      <dgm:spPr/>
    </dgm:pt>
    <dgm:pt modelId="{710EFD20-F5BD-AB4D-A568-52085901D3E2}" type="pres">
      <dgm:prSet presAssocID="{66B0B398-E1F4-D743-80AC-1FA61678AF96}" presName="hSp" presStyleCnt="0"/>
      <dgm:spPr/>
    </dgm:pt>
    <dgm:pt modelId="{5C539F13-D004-7E49-BE7A-6B3A5629E264}" type="pres">
      <dgm:prSet presAssocID="{66B0B398-E1F4-D743-80AC-1FA61678AF96}" presName="vProcSp" presStyleCnt="0"/>
      <dgm:spPr/>
    </dgm:pt>
    <dgm:pt modelId="{C44160C2-8A23-9543-9F65-2217D9C32A9A}" type="pres">
      <dgm:prSet presAssocID="{66B0B398-E1F4-D743-80AC-1FA61678AF96}" presName="vSp1" presStyleCnt="0"/>
      <dgm:spPr/>
    </dgm:pt>
    <dgm:pt modelId="{EFA56D70-A02B-AF4B-9711-0A78EDCE9CA3}" type="pres">
      <dgm:prSet presAssocID="{66B0B398-E1F4-D743-80AC-1FA61678AF96}" presName="simulatedConn" presStyleLbl="solidFgAcc1" presStyleIdx="0" presStyleCnt="9"/>
      <dgm:spPr/>
    </dgm:pt>
    <dgm:pt modelId="{111D6C1C-6025-B645-8EEA-EBFDD1E79FED}" type="pres">
      <dgm:prSet presAssocID="{66B0B398-E1F4-D743-80AC-1FA61678AF96}" presName="vSp2" presStyleCnt="0"/>
      <dgm:spPr/>
    </dgm:pt>
    <dgm:pt modelId="{0AEC9CA9-16A4-AC48-AB23-1994CA447970}" type="pres">
      <dgm:prSet presAssocID="{66B0B398-E1F4-D743-80AC-1FA61678AF96}" presName="sibTrans" presStyleCnt="0"/>
      <dgm:spPr/>
    </dgm:pt>
    <dgm:pt modelId="{5148A1DA-F248-2240-9B67-226062691EBF}" type="pres">
      <dgm:prSet presAssocID="{D4C3D386-D580-E940-91FA-1E9A6949AE1B}" presName="compositeNode" presStyleCnt="0">
        <dgm:presLayoutVars>
          <dgm:bulletEnabled val="1"/>
        </dgm:presLayoutVars>
      </dgm:prSet>
      <dgm:spPr/>
    </dgm:pt>
    <dgm:pt modelId="{5EEBF742-AAB6-6449-B816-A3C7CC3B57DD}" type="pres">
      <dgm:prSet presAssocID="{D4C3D386-D580-E940-91FA-1E9A6949AE1B}" presName="bgRect" presStyleLbl="node1" presStyleIdx="1" presStyleCnt="10" custScaleX="98460" custScaleY="203502"/>
      <dgm:spPr/>
    </dgm:pt>
    <dgm:pt modelId="{C0ADB366-6258-0943-9279-42F6E5B4C81A}" type="pres">
      <dgm:prSet presAssocID="{D4C3D386-D580-E940-91FA-1E9A6949AE1B}" presName="parentNode" presStyleLbl="node1" presStyleIdx="1" presStyleCnt="10">
        <dgm:presLayoutVars>
          <dgm:chMax val="0"/>
          <dgm:bulletEnabled val="1"/>
        </dgm:presLayoutVars>
      </dgm:prSet>
      <dgm:spPr/>
    </dgm:pt>
    <dgm:pt modelId="{98D892AB-4882-D84B-9906-E6D1E931D0FA}" type="pres">
      <dgm:prSet presAssocID="{71CDE142-B7EA-654B-AA10-4201EFE1D2E6}" presName="hSp" presStyleCnt="0"/>
      <dgm:spPr/>
    </dgm:pt>
    <dgm:pt modelId="{1F823622-8EF2-B44C-A26F-CD496CF3CF4A}" type="pres">
      <dgm:prSet presAssocID="{71CDE142-B7EA-654B-AA10-4201EFE1D2E6}" presName="vProcSp" presStyleCnt="0"/>
      <dgm:spPr/>
    </dgm:pt>
    <dgm:pt modelId="{4CFBBD8A-D4B2-CE47-980E-7C309FEA4D79}" type="pres">
      <dgm:prSet presAssocID="{71CDE142-B7EA-654B-AA10-4201EFE1D2E6}" presName="vSp1" presStyleCnt="0"/>
      <dgm:spPr/>
    </dgm:pt>
    <dgm:pt modelId="{B8A072E1-2EA7-3E4A-ACB7-C551F7459C1B}" type="pres">
      <dgm:prSet presAssocID="{71CDE142-B7EA-654B-AA10-4201EFE1D2E6}" presName="simulatedConn" presStyleLbl="solidFgAcc1" presStyleIdx="1" presStyleCnt="9"/>
      <dgm:spPr/>
    </dgm:pt>
    <dgm:pt modelId="{20BDA1FC-FA6E-3144-BB0D-05401EB279BE}" type="pres">
      <dgm:prSet presAssocID="{71CDE142-B7EA-654B-AA10-4201EFE1D2E6}" presName="vSp2" presStyleCnt="0"/>
      <dgm:spPr/>
    </dgm:pt>
    <dgm:pt modelId="{ED0FB7BB-4290-A143-9CE6-91A376184234}" type="pres">
      <dgm:prSet presAssocID="{71CDE142-B7EA-654B-AA10-4201EFE1D2E6}" presName="sibTrans" presStyleCnt="0"/>
      <dgm:spPr/>
    </dgm:pt>
    <dgm:pt modelId="{1C88E294-E529-C548-8C6D-FB9574F2E23D}" type="pres">
      <dgm:prSet presAssocID="{3079EEBE-67BD-D046-A725-E562B30E0E52}" presName="compositeNode" presStyleCnt="0">
        <dgm:presLayoutVars>
          <dgm:bulletEnabled val="1"/>
        </dgm:presLayoutVars>
      </dgm:prSet>
      <dgm:spPr/>
    </dgm:pt>
    <dgm:pt modelId="{0206482A-954A-D84D-BA99-C569E4211D83}" type="pres">
      <dgm:prSet presAssocID="{3079EEBE-67BD-D046-A725-E562B30E0E52}" presName="bgRect" presStyleLbl="node1" presStyleIdx="2" presStyleCnt="10" custScaleY="204691"/>
      <dgm:spPr/>
    </dgm:pt>
    <dgm:pt modelId="{61A0B488-7EBD-8D47-9837-FA38AC3F35A3}" type="pres">
      <dgm:prSet presAssocID="{3079EEBE-67BD-D046-A725-E562B30E0E52}" presName="parentNode" presStyleLbl="node1" presStyleIdx="2" presStyleCnt="10">
        <dgm:presLayoutVars>
          <dgm:chMax val="0"/>
          <dgm:bulletEnabled val="1"/>
        </dgm:presLayoutVars>
      </dgm:prSet>
      <dgm:spPr/>
    </dgm:pt>
    <dgm:pt modelId="{54B0BC54-0C4D-4346-A40E-814ACDAE83C1}" type="pres">
      <dgm:prSet presAssocID="{48E18B33-C689-804F-895D-E15F27AC8E6D}" presName="hSp" presStyleCnt="0"/>
      <dgm:spPr/>
    </dgm:pt>
    <dgm:pt modelId="{0D637CFC-8378-A344-B76D-5AC00F85B137}" type="pres">
      <dgm:prSet presAssocID="{48E18B33-C689-804F-895D-E15F27AC8E6D}" presName="vProcSp" presStyleCnt="0"/>
      <dgm:spPr/>
    </dgm:pt>
    <dgm:pt modelId="{4CD8D2AA-9A83-434F-93BE-FEA27A34D967}" type="pres">
      <dgm:prSet presAssocID="{48E18B33-C689-804F-895D-E15F27AC8E6D}" presName="vSp1" presStyleCnt="0"/>
      <dgm:spPr/>
    </dgm:pt>
    <dgm:pt modelId="{2EF8F15A-8DFC-584E-97B4-8D8BFEE8E1D5}" type="pres">
      <dgm:prSet presAssocID="{48E18B33-C689-804F-895D-E15F27AC8E6D}" presName="simulatedConn" presStyleLbl="solidFgAcc1" presStyleIdx="2" presStyleCnt="9"/>
      <dgm:spPr/>
    </dgm:pt>
    <dgm:pt modelId="{E365B8B1-F433-3341-8F05-C98C4E6A1E64}" type="pres">
      <dgm:prSet presAssocID="{48E18B33-C689-804F-895D-E15F27AC8E6D}" presName="vSp2" presStyleCnt="0"/>
      <dgm:spPr/>
    </dgm:pt>
    <dgm:pt modelId="{D423CB2B-510B-3B42-9579-683DF7599AFA}" type="pres">
      <dgm:prSet presAssocID="{48E18B33-C689-804F-895D-E15F27AC8E6D}" presName="sibTrans" presStyleCnt="0"/>
      <dgm:spPr/>
    </dgm:pt>
    <dgm:pt modelId="{C6B1C17D-B1A2-0449-9F16-17013C603C6B}" type="pres">
      <dgm:prSet presAssocID="{12346DF8-D2C5-4E49-B16E-FAD454FB6C03}" presName="compositeNode" presStyleCnt="0">
        <dgm:presLayoutVars>
          <dgm:bulletEnabled val="1"/>
        </dgm:presLayoutVars>
      </dgm:prSet>
      <dgm:spPr/>
    </dgm:pt>
    <dgm:pt modelId="{7A7604CB-49A3-914B-8062-9261A3091584}" type="pres">
      <dgm:prSet presAssocID="{12346DF8-D2C5-4E49-B16E-FAD454FB6C03}" presName="bgRect" presStyleLbl="node1" presStyleIdx="3" presStyleCnt="10" custScaleY="204691"/>
      <dgm:spPr/>
    </dgm:pt>
    <dgm:pt modelId="{37B1F30F-30CF-994C-A187-B1067283CE25}" type="pres">
      <dgm:prSet presAssocID="{12346DF8-D2C5-4E49-B16E-FAD454FB6C03}" presName="parentNode" presStyleLbl="node1" presStyleIdx="3" presStyleCnt="10">
        <dgm:presLayoutVars>
          <dgm:chMax val="0"/>
          <dgm:bulletEnabled val="1"/>
        </dgm:presLayoutVars>
      </dgm:prSet>
      <dgm:spPr/>
    </dgm:pt>
    <dgm:pt modelId="{BAB39446-E5CD-BB4D-A6C2-B9D0ECD0D9DE}" type="pres">
      <dgm:prSet presAssocID="{D00E721D-FCAC-5145-918F-72A1926EFCDB}" presName="hSp" presStyleCnt="0"/>
      <dgm:spPr/>
    </dgm:pt>
    <dgm:pt modelId="{71E9C2EF-3A36-4448-B697-C9EB5DB34078}" type="pres">
      <dgm:prSet presAssocID="{D00E721D-FCAC-5145-918F-72A1926EFCDB}" presName="vProcSp" presStyleCnt="0"/>
      <dgm:spPr/>
    </dgm:pt>
    <dgm:pt modelId="{79A7D5BF-28B8-CF43-8C34-EEDA64CA5D60}" type="pres">
      <dgm:prSet presAssocID="{D00E721D-FCAC-5145-918F-72A1926EFCDB}" presName="vSp1" presStyleCnt="0"/>
      <dgm:spPr/>
    </dgm:pt>
    <dgm:pt modelId="{D0A387FE-5AD3-434A-BE32-BE4063DA5BC8}" type="pres">
      <dgm:prSet presAssocID="{D00E721D-FCAC-5145-918F-72A1926EFCDB}" presName="simulatedConn" presStyleLbl="solidFgAcc1" presStyleIdx="3" presStyleCnt="9"/>
      <dgm:spPr/>
    </dgm:pt>
    <dgm:pt modelId="{B958BC14-603C-2542-8344-0729913DBC84}" type="pres">
      <dgm:prSet presAssocID="{D00E721D-FCAC-5145-918F-72A1926EFCDB}" presName="vSp2" presStyleCnt="0"/>
      <dgm:spPr/>
    </dgm:pt>
    <dgm:pt modelId="{B9425877-A03B-C64A-8603-CBF1E086C146}" type="pres">
      <dgm:prSet presAssocID="{D00E721D-FCAC-5145-918F-72A1926EFCDB}" presName="sibTrans" presStyleCnt="0"/>
      <dgm:spPr/>
    </dgm:pt>
    <dgm:pt modelId="{2F695ECA-A2A3-6946-9E3B-D8BCD40926E2}" type="pres">
      <dgm:prSet presAssocID="{66B44317-6914-7441-8323-A918A8E3C008}" presName="compositeNode" presStyleCnt="0">
        <dgm:presLayoutVars>
          <dgm:bulletEnabled val="1"/>
        </dgm:presLayoutVars>
      </dgm:prSet>
      <dgm:spPr/>
    </dgm:pt>
    <dgm:pt modelId="{955074DD-F37B-3C4F-85D8-EC4264CE17EC}" type="pres">
      <dgm:prSet presAssocID="{66B44317-6914-7441-8323-A918A8E3C008}" presName="bgRect" presStyleLbl="node1" presStyleIdx="4" presStyleCnt="10" custScaleY="204691"/>
      <dgm:spPr/>
    </dgm:pt>
    <dgm:pt modelId="{5CABA2EF-2359-6341-9B01-998039ABF022}" type="pres">
      <dgm:prSet presAssocID="{66B44317-6914-7441-8323-A918A8E3C008}" presName="parentNode" presStyleLbl="node1" presStyleIdx="4" presStyleCnt="10">
        <dgm:presLayoutVars>
          <dgm:chMax val="0"/>
          <dgm:bulletEnabled val="1"/>
        </dgm:presLayoutVars>
      </dgm:prSet>
      <dgm:spPr/>
    </dgm:pt>
    <dgm:pt modelId="{B3920530-A6E8-0141-B1F9-E54C2D833E42}" type="pres">
      <dgm:prSet presAssocID="{005814A1-04F5-9846-81B7-6C18D6D4F701}" presName="hSp" presStyleCnt="0"/>
      <dgm:spPr/>
    </dgm:pt>
    <dgm:pt modelId="{8702A9E0-66A3-4745-8074-C576C79F0188}" type="pres">
      <dgm:prSet presAssocID="{005814A1-04F5-9846-81B7-6C18D6D4F701}" presName="vProcSp" presStyleCnt="0"/>
      <dgm:spPr/>
    </dgm:pt>
    <dgm:pt modelId="{6A766637-6677-8F4C-A3F0-3AA493D12E5C}" type="pres">
      <dgm:prSet presAssocID="{005814A1-04F5-9846-81B7-6C18D6D4F701}" presName="vSp1" presStyleCnt="0"/>
      <dgm:spPr/>
    </dgm:pt>
    <dgm:pt modelId="{3D85ABBE-2D6B-9D40-A0A4-939176E7138D}" type="pres">
      <dgm:prSet presAssocID="{005814A1-04F5-9846-81B7-6C18D6D4F701}" presName="simulatedConn" presStyleLbl="solidFgAcc1" presStyleIdx="4" presStyleCnt="9"/>
      <dgm:spPr/>
    </dgm:pt>
    <dgm:pt modelId="{B25E2547-6B07-124B-A3D2-B406E84D2E8D}" type="pres">
      <dgm:prSet presAssocID="{005814A1-04F5-9846-81B7-6C18D6D4F701}" presName="vSp2" presStyleCnt="0"/>
      <dgm:spPr/>
    </dgm:pt>
    <dgm:pt modelId="{1084D663-8916-814A-A735-24ADC5CCD2B7}" type="pres">
      <dgm:prSet presAssocID="{005814A1-04F5-9846-81B7-6C18D6D4F701}" presName="sibTrans" presStyleCnt="0"/>
      <dgm:spPr/>
    </dgm:pt>
    <dgm:pt modelId="{391E5F4B-6BA4-7241-9CDC-60181277D8AB}" type="pres">
      <dgm:prSet presAssocID="{C2A88ABF-E863-3446-9906-097C75B1975C}" presName="compositeNode" presStyleCnt="0">
        <dgm:presLayoutVars>
          <dgm:bulletEnabled val="1"/>
        </dgm:presLayoutVars>
      </dgm:prSet>
      <dgm:spPr/>
    </dgm:pt>
    <dgm:pt modelId="{0662D13B-F5DF-1A42-BC70-F1010D660B30}" type="pres">
      <dgm:prSet presAssocID="{C2A88ABF-E863-3446-9906-097C75B1975C}" presName="bgRect" presStyleLbl="node1" presStyleIdx="5" presStyleCnt="10" custScaleY="204691"/>
      <dgm:spPr/>
    </dgm:pt>
    <dgm:pt modelId="{5DB7EFEE-D49F-2A42-B826-02FA4BCB3E89}" type="pres">
      <dgm:prSet presAssocID="{C2A88ABF-E863-3446-9906-097C75B1975C}" presName="parentNode" presStyleLbl="node1" presStyleIdx="5" presStyleCnt="10">
        <dgm:presLayoutVars>
          <dgm:chMax val="0"/>
          <dgm:bulletEnabled val="1"/>
        </dgm:presLayoutVars>
      </dgm:prSet>
      <dgm:spPr/>
    </dgm:pt>
    <dgm:pt modelId="{BECF0666-34FA-2942-ADF7-DCEAC7B9D2BF}" type="pres">
      <dgm:prSet presAssocID="{858CB07D-556F-3641-9E95-4EE222648848}" presName="hSp" presStyleCnt="0"/>
      <dgm:spPr/>
    </dgm:pt>
    <dgm:pt modelId="{D5C20E95-BD99-034F-946C-AB1D0DC7F996}" type="pres">
      <dgm:prSet presAssocID="{858CB07D-556F-3641-9E95-4EE222648848}" presName="vProcSp" presStyleCnt="0"/>
      <dgm:spPr/>
    </dgm:pt>
    <dgm:pt modelId="{8E343174-646C-6E42-BE82-FB3AA074F5B3}" type="pres">
      <dgm:prSet presAssocID="{858CB07D-556F-3641-9E95-4EE222648848}" presName="vSp1" presStyleCnt="0"/>
      <dgm:spPr/>
    </dgm:pt>
    <dgm:pt modelId="{889DD14F-26DC-4E4B-914C-CB0717659A6C}" type="pres">
      <dgm:prSet presAssocID="{858CB07D-556F-3641-9E95-4EE222648848}" presName="simulatedConn" presStyleLbl="solidFgAcc1" presStyleIdx="5" presStyleCnt="9"/>
      <dgm:spPr/>
    </dgm:pt>
    <dgm:pt modelId="{5ADF75C0-2114-0E4E-B29B-0C94F23413FD}" type="pres">
      <dgm:prSet presAssocID="{858CB07D-556F-3641-9E95-4EE222648848}" presName="vSp2" presStyleCnt="0"/>
      <dgm:spPr/>
    </dgm:pt>
    <dgm:pt modelId="{0EABE22D-7421-5245-A2D5-6DE3961C7A2D}" type="pres">
      <dgm:prSet presAssocID="{858CB07D-556F-3641-9E95-4EE222648848}" presName="sibTrans" presStyleCnt="0"/>
      <dgm:spPr/>
    </dgm:pt>
    <dgm:pt modelId="{48944C1F-D4AE-D94C-A377-8405786BAE6B}" type="pres">
      <dgm:prSet presAssocID="{E9ADB2D9-99C5-BD44-88A7-514F888CF2D0}" presName="compositeNode" presStyleCnt="0">
        <dgm:presLayoutVars>
          <dgm:bulletEnabled val="1"/>
        </dgm:presLayoutVars>
      </dgm:prSet>
      <dgm:spPr/>
    </dgm:pt>
    <dgm:pt modelId="{812A7E82-0D16-F34C-B4B8-949600A7B304}" type="pres">
      <dgm:prSet presAssocID="{E9ADB2D9-99C5-BD44-88A7-514F888CF2D0}" presName="bgRect" presStyleLbl="node1" presStyleIdx="6" presStyleCnt="10" custScaleY="204691"/>
      <dgm:spPr/>
    </dgm:pt>
    <dgm:pt modelId="{BED4969E-1B3F-EE4B-A0FB-5B0E9A4E45DB}" type="pres">
      <dgm:prSet presAssocID="{E9ADB2D9-99C5-BD44-88A7-514F888CF2D0}" presName="parentNode" presStyleLbl="node1" presStyleIdx="6" presStyleCnt="10">
        <dgm:presLayoutVars>
          <dgm:chMax val="0"/>
          <dgm:bulletEnabled val="1"/>
        </dgm:presLayoutVars>
      </dgm:prSet>
      <dgm:spPr/>
    </dgm:pt>
    <dgm:pt modelId="{62F3C6DB-AE30-C842-A721-91A08E5BA14A}" type="pres">
      <dgm:prSet presAssocID="{87B46669-1242-134C-85A9-E3FC84AC2C12}" presName="hSp" presStyleCnt="0"/>
      <dgm:spPr/>
    </dgm:pt>
    <dgm:pt modelId="{69E7CF59-80D3-1E43-B22B-F961636A6233}" type="pres">
      <dgm:prSet presAssocID="{87B46669-1242-134C-85A9-E3FC84AC2C12}" presName="vProcSp" presStyleCnt="0"/>
      <dgm:spPr/>
    </dgm:pt>
    <dgm:pt modelId="{550AE1C0-AC4D-4740-8DEB-4D3F6660F155}" type="pres">
      <dgm:prSet presAssocID="{87B46669-1242-134C-85A9-E3FC84AC2C12}" presName="vSp1" presStyleCnt="0"/>
      <dgm:spPr/>
    </dgm:pt>
    <dgm:pt modelId="{96EEAA5B-A9B0-814E-AEBF-068E03499942}" type="pres">
      <dgm:prSet presAssocID="{87B46669-1242-134C-85A9-E3FC84AC2C12}" presName="simulatedConn" presStyleLbl="solidFgAcc1" presStyleIdx="6" presStyleCnt="9"/>
      <dgm:spPr/>
    </dgm:pt>
    <dgm:pt modelId="{48B881FB-AC9A-4545-B171-804ABC26088A}" type="pres">
      <dgm:prSet presAssocID="{87B46669-1242-134C-85A9-E3FC84AC2C12}" presName="vSp2" presStyleCnt="0"/>
      <dgm:spPr/>
    </dgm:pt>
    <dgm:pt modelId="{C7C8F9EA-C714-6641-96BC-37CDB9E0BC7A}" type="pres">
      <dgm:prSet presAssocID="{87B46669-1242-134C-85A9-E3FC84AC2C12}" presName="sibTrans" presStyleCnt="0"/>
      <dgm:spPr/>
    </dgm:pt>
    <dgm:pt modelId="{AD55DB5D-D17C-784E-B593-1C398EF9EEC9}" type="pres">
      <dgm:prSet presAssocID="{336D3D3B-4174-D348-8FC6-1F21A588588A}" presName="compositeNode" presStyleCnt="0">
        <dgm:presLayoutVars>
          <dgm:bulletEnabled val="1"/>
        </dgm:presLayoutVars>
      </dgm:prSet>
      <dgm:spPr/>
    </dgm:pt>
    <dgm:pt modelId="{E5828ECC-C7CF-5545-AC2A-05CFA0DF17E8}" type="pres">
      <dgm:prSet presAssocID="{336D3D3B-4174-D348-8FC6-1F21A588588A}" presName="bgRect" presStyleLbl="node1" presStyleIdx="7" presStyleCnt="10" custScaleY="204691"/>
      <dgm:spPr/>
    </dgm:pt>
    <dgm:pt modelId="{B343B599-BFB4-1F40-ADB1-2DD8A65AA68A}" type="pres">
      <dgm:prSet presAssocID="{336D3D3B-4174-D348-8FC6-1F21A588588A}" presName="parentNode" presStyleLbl="node1" presStyleIdx="7" presStyleCnt="10">
        <dgm:presLayoutVars>
          <dgm:chMax val="0"/>
          <dgm:bulletEnabled val="1"/>
        </dgm:presLayoutVars>
      </dgm:prSet>
      <dgm:spPr/>
    </dgm:pt>
    <dgm:pt modelId="{9BC120EE-4B41-8E47-AF44-56529E39F622}" type="pres">
      <dgm:prSet presAssocID="{1C1C0928-D4E0-6546-91B1-205BA542214D}" presName="hSp" presStyleCnt="0"/>
      <dgm:spPr/>
    </dgm:pt>
    <dgm:pt modelId="{45BD87C0-0BA4-2849-B77B-7BCDD1A2B9F3}" type="pres">
      <dgm:prSet presAssocID="{1C1C0928-D4E0-6546-91B1-205BA542214D}" presName="vProcSp" presStyleCnt="0"/>
      <dgm:spPr/>
    </dgm:pt>
    <dgm:pt modelId="{34AAE533-5B1D-FE47-8957-4B4FD34878A1}" type="pres">
      <dgm:prSet presAssocID="{1C1C0928-D4E0-6546-91B1-205BA542214D}" presName="vSp1" presStyleCnt="0"/>
      <dgm:spPr/>
    </dgm:pt>
    <dgm:pt modelId="{DF25C747-B8FD-E544-9474-5123AE8C747C}" type="pres">
      <dgm:prSet presAssocID="{1C1C0928-D4E0-6546-91B1-205BA542214D}" presName="simulatedConn" presStyleLbl="solidFgAcc1" presStyleIdx="7" presStyleCnt="9"/>
      <dgm:spPr/>
    </dgm:pt>
    <dgm:pt modelId="{6E1F1215-EC07-7645-8E2D-A85C466B0B51}" type="pres">
      <dgm:prSet presAssocID="{1C1C0928-D4E0-6546-91B1-205BA542214D}" presName="vSp2" presStyleCnt="0"/>
      <dgm:spPr/>
    </dgm:pt>
    <dgm:pt modelId="{77D08908-5720-8048-AB11-D26A58D9CCD0}" type="pres">
      <dgm:prSet presAssocID="{1C1C0928-D4E0-6546-91B1-205BA542214D}" presName="sibTrans" presStyleCnt="0"/>
      <dgm:spPr/>
    </dgm:pt>
    <dgm:pt modelId="{4E9B40A2-98CC-C24A-B06C-6C7E4EAD6C8F}" type="pres">
      <dgm:prSet presAssocID="{ED310D64-61A3-4A40-B4F1-3AE0BDA241D8}" presName="compositeNode" presStyleCnt="0">
        <dgm:presLayoutVars>
          <dgm:bulletEnabled val="1"/>
        </dgm:presLayoutVars>
      </dgm:prSet>
      <dgm:spPr/>
    </dgm:pt>
    <dgm:pt modelId="{BBF18F4A-B292-1648-A3A4-CEC753A01EA5}" type="pres">
      <dgm:prSet presAssocID="{ED310D64-61A3-4A40-B4F1-3AE0BDA241D8}" presName="bgRect" presStyleLbl="node1" presStyleIdx="8" presStyleCnt="10" custScaleY="204691"/>
      <dgm:spPr/>
    </dgm:pt>
    <dgm:pt modelId="{09CD69D3-816D-3B4F-835F-273A3AD03C19}" type="pres">
      <dgm:prSet presAssocID="{ED310D64-61A3-4A40-B4F1-3AE0BDA241D8}" presName="parentNode" presStyleLbl="node1" presStyleIdx="8" presStyleCnt="10">
        <dgm:presLayoutVars>
          <dgm:chMax val="0"/>
          <dgm:bulletEnabled val="1"/>
        </dgm:presLayoutVars>
      </dgm:prSet>
      <dgm:spPr/>
    </dgm:pt>
    <dgm:pt modelId="{872784DC-E8D0-1545-97E7-FCEB73599FA5}" type="pres">
      <dgm:prSet presAssocID="{BAB74EB5-A639-4841-B974-9C28E3D9E4E3}" presName="hSp" presStyleCnt="0"/>
      <dgm:spPr/>
    </dgm:pt>
    <dgm:pt modelId="{DA0A83C5-1EC1-BA46-908F-4FB3800F5590}" type="pres">
      <dgm:prSet presAssocID="{BAB74EB5-A639-4841-B974-9C28E3D9E4E3}" presName="vProcSp" presStyleCnt="0"/>
      <dgm:spPr/>
    </dgm:pt>
    <dgm:pt modelId="{F55A4F81-FFCC-9549-9782-61D78136BD4B}" type="pres">
      <dgm:prSet presAssocID="{BAB74EB5-A639-4841-B974-9C28E3D9E4E3}" presName="vSp1" presStyleCnt="0"/>
      <dgm:spPr/>
    </dgm:pt>
    <dgm:pt modelId="{3CCE10E6-0316-2642-83C9-AA978D3D6F64}" type="pres">
      <dgm:prSet presAssocID="{BAB74EB5-A639-4841-B974-9C28E3D9E4E3}" presName="simulatedConn" presStyleLbl="solidFgAcc1" presStyleIdx="8" presStyleCnt="9"/>
      <dgm:spPr/>
    </dgm:pt>
    <dgm:pt modelId="{0F007F55-4005-A24F-8298-1E008FF5D1BE}" type="pres">
      <dgm:prSet presAssocID="{BAB74EB5-A639-4841-B974-9C28E3D9E4E3}" presName="vSp2" presStyleCnt="0"/>
      <dgm:spPr/>
    </dgm:pt>
    <dgm:pt modelId="{A6BA76B0-0CE4-EB49-9C68-C1472C8E99D0}" type="pres">
      <dgm:prSet presAssocID="{BAB74EB5-A639-4841-B974-9C28E3D9E4E3}" presName="sibTrans" presStyleCnt="0"/>
      <dgm:spPr/>
    </dgm:pt>
    <dgm:pt modelId="{A534EF97-9B57-344A-BF5F-7DB3177B8EC0}" type="pres">
      <dgm:prSet presAssocID="{D9CA7F51-47E8-5144-A525-90AC977A09E2}" presName="compositeNode" presStyleCnt="0">
        <dgm:presLayoutVars>
          <dgm:bulletEnabled val="1"/>
        </dgm:presLayoutVars>
      </dgm:prSet>
      <dgm:spPr/>
    </dgm:pt>
    <dgm:pt modelId="{C1C80E5D-CEA7-AF46-B59B-84D5FAB2D778}" type="pres">
      <dgm:prSet presAssocID="{D9CA7F51-47E8-5144-A525-90AC977A09E2}" presName="bgRect" presStyleLbl="node1" presStyleIdx="9" presStyleCnt="10" custScaleY="204691"/>
      <dgm:spPr/>
    </dgm:pt>
    <dgm:pt modelId="{AC24F9D0-84D9-854F-92C0-3AF35E67A884}" type="pres">
      <dgm:prSet presAssocID="{D9CA7F51-47E8-5144-A525-90AC977A09E2}" presName="parentNode" presStyleLbl="node1" presStyleIdx="9" presStyleCnt="10">
        <dgm:presLayoutVars>
          <dgm:chMax val="0"/>
          <dgm:bulletEnabled val="1"/>
        </dgm:presLayoutVars>
      </dgm:prSet>
      <dgm:spPr/>
    </dgm:pt>
  </dgm:ptLst>
  <dgm:cxnLst>
    <dgm:cxn modelId="{8AEAC506-2B28-9145-9BA2-351642D7791D}" srcId="{AA4C498B-5209-8F44-B4AB-C5B8CC99BFCA}" destId="{3079EEBE-67BD-D046-A725-E562B30E0E52}" srcOrd="2" destOrd="0" parTransId="{B7020272-53AB-C54F-B0EF-F71AE82AF2B7}" sibTransId="{48E18B33-C689-804F-895D-E15F27AC8E6D}"/>
    <dgm:cxn modelId="{1EC70E0A-3592-F84D-A270-55AF99DB5CAD}" type="presOf" srcId="{3079EEBE-67BD-D046-A725-E562B30E0E52}" destId="{0206482A-954A-D84D-BA99-C569E4211D83}" srcOrd="0" destOrd="0" presId="urn:microsoft.com/office/officeart/2005/8/layout/hProcess7"/>
    <dgm:cxn modelId="{84FAF914-1A80-E544-BA73-36A7BE7249CF}" srcId="{AA4C498B-5209-8F44-B4AB-C5B8CC99BFCA}" destId="{66B44317-6914-7441-8323-A918A8E3C008}" srcOrd="4" destOrd="0" parTransId="{39A2208E-C94B-064C-BD1D-B9DA3B72C063}" sibTransId="{005814A1-04F5-9846-81B7-6C18D6D4F701}"/>
    <dgm:cxn modelId="{4EF74921-01C4-524F-8111-BB61C38FBD37}" type="presOf" srcId="{D9CA7F51-47E8-5144-A525-90AC977A09E2}" destId="{AC24F9D0-84D9-854F-92C0-3AF35E67A884}" srcOrd="1" destOrd="0" presId="urn:microsoft.com/office/officeart/2005/8/layout/hProcess7"/>
    <dgm:cxn modelId="{712C3A2A-6C7D-B54C-8AD7-56F73BDA6BD8}" srcId="{AA4C498B-5209-8F44-B4AB-C5B8CC99BFCA}" destId="{ED310D64-61A3-4A40-B4F1-3AE0BDA241D8}" srcOrd="8" destOrd="0" parTransId="{569B884C-855F-FD4D-B667-14BDA76B2C6B}" sibTransId="{BAB74EB5-A639-4841-B974-9C28E3D9E4E3}"/>
    <dgm:cxn modelId="{6FE8EA2B-0200-154F-AFED-AFE8AEEDDC2F}" type="presOf" srcId="{66B44317-6914-7441-8323-A918A8E3C008}" destId="{5CABA2EF-2359-6341-9B01-998039ABF022}" srcOrd="1" destOrd="0" presId="urn:microsoft.com/office/officeart/2005/8/layout/hProcess7"/>
    <dgm:cxn modelId="{31956134-BFFE-2F47-899B-1750BE4A8F32}" srcId="{AA4C498B-5209-8F44-B4AB-C5B8CC99BFCA}" destId="{D9CA7F51-47E8-5144-A525-90AC977A09E2}" srcOrd="9" destOrd="0" parTransId="{E60D17A7-F6B5-7A4C-A1C0-4DFDEFC89C7F}" sibTransId="{88889E2E-9AA1-0A4C-84CA-37D7C8BB915F}"/>
    <dgm:cxn modelId="{E2E5B869-8D34-4242-93AA-0BA08377CF95}" type="presOf" srcId="{ED310D64-61A3-4A40-B4F1-3AE0BDA241D8}" destId="{BBF18F4A-B292-1648-A3A4-CEC753A01EA5}" srcOrd="0" destOrd="0" presId="urn:microsoft.com/office/officeart/2005/8/layout/hProcess7"/>
    <dgm:cxn modelId="{191DE26A-61F6-B147-8F59-B7A658EC7FAF}" type="presOf" srcId="{88C7C413-191C-A34A-8BE5-C7F256E6558F}" destId="{63EB0861-A24E-8240-AC11-80F4103C81C5}" srcOrd="1" destOrd="0" presId="urn:microsoft.com/office/officeart/2005/8/layout/hProcess7"/>
    <dgm:cxn modelId="{3651264D-2969-5149-BE33-D15DC529684B}" type="presOf" srcId="{3034B178-79E2-BA44-8F9A-667C9D9EEB34}" destId="{64CAD3FB-B896-2342-8882-781CB108B4CE}" srcOrd="0" destOrd="0" presId="urn:microsoft.com/office/officeart/2005/8/layout/hProcess7"/>
    <dgm:cxn modelId="{C46CEF4E-ADDD-AE4D-91A5-839DFFE1A8C6}" type="presOf" srcId="{336D3D3B-4174-D348-8FC6-1F21A588588A}" destId="{B343B599-BFB4-1F40-ADB1-2DD8A65AA68A}" srcOrd="1" destOrd="0" presId="urn:microsoft.com/office/officeart/2005/8/layout/hProcess7"/>
    <dgm:cxn modelId="{C535816F-C1D8-4B47-9A04-D9BBBC0E77A0}" type="presOf" srcId="{336D3D3B-4174-D348-8FC6-1F21A588588A}" destId="{E5828ECC-C7CF-5545-AC2A-05CFA0DF17E8}" srcOrd="0" destOrd="0" presId="urn:microsoft.com/office/officeart/2005/8/layout/hProcess7"/>
    <dgm:cxn modelId="{3F429A55-959E-8B44-8380-5AA8835F152C}" type="presOf" srcId="{E9ADB2D9-99C5-BD44-88A7-514F888CF2D0}" destId="{BED4969E-1B3F-EE4B-A0FB-5B0E9A4E45DB}" srcOrd="1" destOrd="0" presId="urn:microsoft.com/office/officeart/2005/8/layout/hProcess7"/>
    <dgm:cxn modelId="{400E1857-FC6A-034B-8086-CA53BD1E7185}" type="presOf" srcId="{88C7C413-191C-A34A-8BE5-C7F256E6558F}" destId="{B516D63D-AB5F-6247-8750-D0A3A05185BC}" srcOrd="0" destOrd="0" presId="urn:microsoft.com/office/officeart/2005/8/layout/hProcess7"/>
    <dgm:cxn modelId="{89E9B657-8538-BB48-A770-D154843C75B6}" type="presOf" srcId="{12346DF8-D2C5-4E49-B16E-FAD454FB6C03}" destId="{7A7604CB-49A3-914B-8062-9261A3091584}" srcOrd="0" destOrd="0" presId="urn:microsoft.com/office/officeart/2005/8/layout/hProcess7"/>
    <dgm:cxn modelId="{2C890B7B-94C9-0941-9944-10F27D53B41F}" type="presOf" srcId="{AA4C498B-5209-8F44-B4AB-C5B8CC99BFCA}" destId="{D6503065-15E9-474F-B0A2-E6F3CC899A69}" srcOrd="0" destOrd="0" presId="urn:microsoft.com/office/officeart/2005/8/layout/hProcess7"/>
    <dgm:cxn modelId="{B384897B-5891-1845-967C-0167C429F7D0}" srcId="{88C7C413-191C-A34A-8BE5-C7F256E6558F}" destId="{3034B178-79E2-BA44-8F9A-667C9D9EEB34}" srcOrd="0" destOrd="0" parTransId="{8BF813AB-BD0A-3749-A6BC-C6CAEF0131EF}" sibTransId="{3D8950E2-1D55-574C-B17B-2694691F1847}"/>
    <dgm:cxn modelId="{B83CFA88-4975-C249-90D8-992F8E796EF8}" type="presOf" srcId="{C2A88ABF-E863-3446-9906-097C75B1975C}" destId="{0662D13B-F5DF-1A42-BC70-F1010D660B30}" srcOrd="0" destOrd="0" presId="urn:microsoft.com/office/officeart/2005/8/layout/hProcess7"/>
    <dgm:cxn modelId="{4E229991-25F6-3A43-85FE-1B33D55CFA2B}" type="presOf" srcId="{12346DF8-D2C5-4E49-B16E-FAD454FB6C03}" destId="{37B1F30F-30CF-994C-A187-B1067283CE25}" srcOrd="1" destOrd="0" presId="urn:microsoft.com/office/officeart/2005/8/layout/hProcess7"/>
    <dgm:cxn modelId="{B9357C97-034B-5748-B938-7A1114A1F487}" srcId="{AA4C498B-5209-8F44-B4AB-C5B8CC99BFCA}" destId="{88C7C413-191C-A34A-8BE5-C7F256E6558F}" srcOrd="0" destOrd="0" parTransId="{9E4B4E70-872B-B249-8FE2-616D54AF214A}" sibTransId="{66B0B398-E1F4-D743-80AC-1FA61678AF96}"/>
    <dgm:cxn modelId="{0FDFC99A-D86E-0C49-862B-98BC6C14B4DF}" type="presOf" srcId="{ED310D64-61A3-4A40-B4F1-3AE0BDA241D8}" destId="{09CD69D3-816D-3B4F-835F-273A3AD03C19}" srcOrd="1" destOrd="0" presId="urn:microsoft.com/office/officeart/2005/8/layout/hProcess7"/>
    <dgm:cxn modelId="{0F9993A1-5393-6A4C-A1D8-DADEBC76409D}" type="presOf" srcId="{66B44317-6914-7441-8323-A918A8E3C008}" destId="{955074DD-F37B-3C4F-85D8-EC4264CE17EC}" srcOrd="0" destOrd="0" presId="urn:microsoft.com/office/officeart/2005/8/layout/hProcess7"/>
    <dgm:cxn modelId="{CB3A2AAD-8342-704C-9BCE-B6E3BEA42917}" type="presOf" srcId="{D4C3D386-D580-E940-91FA-1E9A6949AE1B}" destId="{5EEBF742-AAB6-6449-B816-A3C7CC3B57DD}" srcOrd="0" destOrd="0" presId="urn:microsoft.com/office/officeart/2005/8/layout/hProcess7"/>
    <dgm:cxn modelId="{6503D1D0-F7D7-8346-8CD1-D0DFCFA86328}" srcId="{AA4C498B-5209-8F44-B4AB-C5B8CC99BFCA}" destId="{E9ADB2D9-99C5-BD44-88A7-514F888CF2D0}" srcOrd="6" destOrd="0" parTransId="{BF023ADA-3B70-7142-A4D7-4972BDBB3B19}" sibTransId="{87B46669-1242-134C-85A9-E3FC84AC2C12}"/>
    <dgm:cxn modelId="{860DA3D5-0D4B-9F4A-B989-67B2608DFB58}" srcId="{AA4C498B-5209-8F44-B4AB-C5B8CC99BFCA}" destId="{C2A88ABF-E863-3446-9906-097C75B1975C}" srcOrd="5" destOrd="0" parTransId="{694A9D2B-6F52-874A-9DC7-57A6473B189C}" sibTransId="{858CB07D-556F-3641-9E95-4EE222648848}"/>
    <dgm:cxn modelId="{726F58D9-90B3-7E42-B87E-A1CDCF8817C2}" type="presOf" srcId="{D4C3D386-D580-E940-91FA-1E9A6949AE1B}" destId="{C0ADB366-6258-0943-9279-42F6E5B4C81A}" srcOrd="1" destOrd="0" presId="urn:microsoft.com/office/officeart/2005/8/layout/hProcess7"/>
    <dgm:cxn modelId="{D79DD0DB-6D65-1D42-8E6D-849E57F01B27}" type="presOf" srcId="{D9CA7F51-47E8-5144-A525-90AC977A09E2}" destId="{C1C80E5D-CEA7-AF46-B59B-84D5FAB2D778}" srcOrd="0" destOrd="0" presId="urn:microsoft.com/office/officeart/2005/8/layout/hProcess7"/>
    <dgm:cxn modelId="{023126DD-99D7-0144-BD97-7B56D2E2DF62}" srcId="{AA4C498B-5209-8F44-B4AB-C5B8CC99BFCA}" destId="{12346DF8-D2C5-4E49-B16E-FAD454FB6C03}" srcOrd="3" destOrd="0" parTransId="{9921B4E7-7FC3-3743-AE09-48DA41306E9C}" sibTransId="{D00E721D-FCAC-5145-918F-72A1926EFCDB}"/>
    <dgm:cxn modelId="{E7BCEADD-6F6C-5744-90D9-1EEC73F51F8C}" srcId="{AA4C498B-5209-8F44-B4AB-C5B8CC99BFCA}" destId="{336D3D3B-4174-D348-8FC6-1F21A588588A}" srcOrd="7" destOrd="0" parTransId="{112A8F9A-DFEB-0D46-9F06-7B976F1C7C7C}" sibTransId="{1C1C0928-D4E0-6546-91B1-205BA542214D}"/>
    <dgm:cxn modelId="{4B5A2FE0-233E-D243-8845-A7DBEADE4206}" type="presOf" srcId="{C2A88ABF-E863-3446-9906-097C75B1975C}" destId="{5DB7EFEE-D49F-2A42-B826-02FA4BCB3E89}" srcOrd="1" destOrd="0" presId="urn:microsoft.com/office/officeart/2005/8/layout/hProcess7"/>
    <dgm:cxn modelId="{A8E6DDF3-05AE-984D-887F-9C5E1393B650}" type="presOf" srcId="{E9ADB2D9-99C5-BD44-88A7-514F888CF2D0}" destId="{812A7E82-0D16-F34C-B4B8-949600A7B304}" srcOrd="0" destOrd="0" presId="urn:microsoft.com/office/officeart/2005/8/layout/hProcess7"/>
    <dgm:cxn modelId="{31576DF6-BB43-9D42-841D-683555574DAA}" type="presOf" srcId="{3079EEBE-67BD-D046-A725-E562B30E0E52}" destId="{61A0B488-7EBD-8D47-9837-FA38AC3F35A3}" srcOrd="1" destOrd="0" presId="urn:microsoft.com/office/officeart/2005/8/layout/hProcess7"/>
    <dgm:cxn modelId="{15EBDBF8-73E8-AA47-AB06-1B7571E847E7}" srcId="{AA4C498B-5209-8F44-B4AB-C5B8CC99BFCA}" destId="{D4C3D386-D580-E940-91FA-1E9A6949AE1B}" srcOrd="1" destOrd="0" parTransId="{01EBC3B6-498F-4342-9C26-DB6C2275DFAD}" sibTransId="{71CDE142-B7EA-654B-AA10-4201EFE1D2E6}"/>
    <dgm:cxn modelId="{CDB30B0F-D3BC-2149-B450-1E45F7BD69AA}" type="presParOf" srcId="{D6503065-15E9-474F-B0A2-E6F3CC899A69}" destId="{EA005989-40BC-3D41-A59E-F9816C34FFC3}" srcOrd="0" destOrd="0" presId="urn:microsoft.com/office/officeart/2005/8/layout/hProcess7"/>
    <dgm:cxn modelId="{D89C0E80-D1BA-7A4C-9354-6C2768230A19}" type="presParOf" srcId="{EA005989-40BC-3D41-A59E-F9816C34FFC3}" destId="{B516D63D-AB5F-6247-8750-D0A3A05185BC}" srcOrd="0" destOrd="0" presId="urn:microsoft.com/office/officeart/2005/8/layout/hProcess7"/>
    <dgm:cxn modelId="{B78AB715-397F-5E42-AD3B-3DDDC0B28EC2}" type="presParOf" srcId="{EA005989-40BC-3D41-A59E-F9816C34FFC3}" destId="{63EB0861-A24E-8240-AC11-80F4103C81C5}" srcOrd="1" destOrd="0" presId="urn:microsoft.com/office/officeart/2005/8/layout/hProcess7"/>
    <dgm:cxn modelId="{7872CECB-C6A6-4143-A0FF-A0A9CD11FCD8}" type="presParOf" srcId="{EA005989-40BC-3D41-A59E-F9816C34FFC3}" destId="{64CAD3FB-B896-2342-8882-781CB108B4CE}" srcOrd="2" destOrd="0" presId="urn:microsoft.com/office/officeart/2005/8/layout/hProcess7"/>
    <dgm:cxn modelId="{ECB67CA5-EAEA-604B-A119-BA2B1C9F3B6D}" type="presParOf" srcId="{D6503065-15E9-474F-B0A2-E6F3CC899A69}" destId="{710EFD20-F5BD-AB4D-A568-52085901D3E2}" srcOrd="1" destOrd="0" presId="urn:microsoft.com/office/officeart/2005/8/layout/hProcess7"/>
    <dgm:cxn modelId="{249D5519-C704-F848-88BD-44E22E205B13}" type="presParOf" srcId="{D6503065-15E9-474F-B0A2-E6F3CC899A69}" destId="{5C539F13-D004-7E49-BE7A-6B3A5629E264}" srcOrd="2" destOrd="0" presId="urn:microsoft.com/office/officeart/2005/8/layout/hProcess7"/>
    <dgm:cxn modelId="{E072E9FF-7CF6-8D48-B885-E0461FDA22F3}" type="presParOf" srcId="{5C539F13-D004-7E49-BE7A-6B3A5629E264}" destId="{C44160C2-8A23-9543-9F65-2217D9C32A9A}" srcOrd="0" destOrd="0" presId="urn:microsoft.com/office/officeart/2005/8/layout/hProcess7"/>
    <dgm:cxn modelId="{336BF915-7A5E-2840-85B3-990B738D469E}" type="presParOf" srcId="{5C539F13-D004-7E49-BE7A-6B3A5629E264}" destId="{EFA56D70-A02B-AF4B-9711-0A78EDCE9CA3}" srcOrd="1" destOrd="0" presId="urn:microsoft.com/office/officeart/2005/8/layout/hProcess7"/>
    <dgm:cxn modelId="{9EE84043-56B7-DE42-90EF-D2DEAFFCC41B}" type="presParOf" srcId="{5C539F13-D004-7E49-BE7A-6B3A5629E264}" destId="{111D6C1C-6025-B645-8EEA-EBFDD1E79FED}" srcOrd="2" destOrd="0" presId="urn:microsoft.com/office/officeart/2005/8/layout/hProcess7"/>
    <dgm:cxn modelId="{B1BBB0F9-A954-1743-BA94-DB81F75966F9}" type="presParOf" srcId="{D6503065-15E9-474F-B0A2-E6F3CC899A69}" destId="{0AEC9CA9-16A4-AC48-AB23-1994CA447970}" srcOrd="3" destOrd="0" presId="urn:microsoft.com/office/officeart/2005/8/layout/hProcess7"/>
    <dgm:cxn modelId="{6D332C67-F82C-FA49-8786-190ABAFF7368}" type="presParOf" srcId="{D6503065-15E9-474F-B0A2-E6F3CC899A69}" destId="{5148A1DA-F248-2240-9B67-226062691EBF}" srcOrd="4" destOrd="0" presId="urn:microsoft.com/office/officeart/2005/8/layout/hProcess7"/>
    <dgm:cxn modelId="{B3459AB9-0A30-154E-9C92-D6AAA663FA7C}" type="presParOf" srcId="{5148A1DA-F248-2240-9B67-226062691EBF}" destId="{5EEBF742-AAB6-6449-B816-A3C7CC3B57DD}" srcOrd="0" destOrd="0" presId="urn:microsoft.com/office/officeart/2005/8/layout/hProcess7"/>
    <dgm:cxn modelId="{E33CD0D5-7498-D64C-BBF2-89C0733BA971}" type="presParOf" srcId="{5148A1DA-F248-2240-9B67-226062691EBF}" destId="{C0ADB366-6258-0943-9279-42F6E5B4C81A}" srcOrd="1" destOrd="0" presId="urn:microsoft.com/office/officeart/2005/8/layout/hProcess7"/>
    <dgm:cxn modelId="{900F5828-70C8-4541-978A-115F79F398D2}" type="presParOf" srcId="{D6503065-15E9-474F-B0A2-E6F3CC899A69}" destId="{98D892AB-4882-D84B-9906-E6D1E931D0FA}" srcOrd="5" destOrd="0" presId="urn:microsoft.com/office/officeart/2005/8/layout/hProcess7"/>
    <dgm:cxn modelId="{08D0709F-4B32-2D47-9846-270F5CFC0165}" type="presParOf" srcId="{D6503065-15E9-474F-B0A2-E6F3CC899A69}" destId="{1F823622-8EF2-B44C-A26F-CD496CF3CF4A}" srcOrd="6" destOrd="0" presId="urn:microsoft.com/office/officeart/2005/8/layout/hProcess7"/>
    <dgm:cxn modelId="{1CFE23CD-6917-774A-852C-61F10B486696}" type="presParOf" srcId="{1F823622-8EF2-B44C-A26F-CD496CF3CF4A}" destId="{4CFBBD8A-D4B2-CE47-980E-7C309FEA4D79}" srcOrd="0" destOrd="0" presId="urn:microsoft.com/office/officeart/2005/8/layout/hProcess7"/>
    <dgm:cxn modelId="{589D5F4E-2490-0F45-BCEC-AE9D4D98CEF9}" type="presParOf" srcId="{1F823622-8EF2-B44C-A26F-CD496CF3CF4A}" destId="{B8A072E1-2EA7-3E4A-ACB7-C551F7459C1B}" srcOrd="1" destOrd="0" presId="urn:microsoft.com/office/officeart/2005/8/layout/hProcess7"/>
    <dgm:cxn modelId="{BF8624D0-044B-9A4F-906C-984BF58E4D43}" type="presParOf" srcId="{1F823622-8EF2-B44C-A26F-CD496CF3CF4A}" destId="{20BDA1FC-FA6E-3144-BB0D-05401EB279BE}" srcOrd="2" destOrd="0" presId="urn:microsoft.com/office/officeart/2005/8/layout/hProcess7"/>
    <dgm:cxn modelId="{4B5F67AC-4A17-884C-A966-141A2D159607}" type="presParOf" srcId="{D6503065-15E9-474F-B0A2-E6F3CC899A69}" destId="{ED0FB7BB-4290-A143-9CE6-91A376184234}" srcOrd="7" destOrd="0" presId="urn:microsoft.com/office/officeart/2005/8/layout/hProcess7"/>
    <dgm:cxn modelId="{308D754C-2F83-1D48-BCAC-AA79BA423C94}" type="presParOf" srcId="{D6503065-15E9-474F-B0A2-E6F3CC899A69}" destId="{1C88E294-E529-C548-8C6D-FB9574F2E23D}" srcOrd="8" destOrd="0" presId="urn:microsoft.com/office/officeart/2005/8/layout/hProcess7"/>
    <dgm:cxn modelId="{CE237B4B-10B7-704B-877D-2C406002A043}" type="presParOf" srcId="{1C88E294-E529-C548-8C6D-FB9574F2E23D}" destId="{0206482A-954A-D84D-BA99-C569E4211D83}" srcOrd="0" destOrd="0" presId="urn:microsoft.com/office/officeart/2005/8/layout/hProcess7"/>
    <dgm:cxn modelId="{63B540B5-DBD9-5E4E-8AAD-627769E2C9B2}" type="presParOf" srcId="{1C88E294-E529-C548-8C6D-FB9574F2E23D}" destId="{61A0B488-7EBD-8D47-9837-FA38AC3F35A3}" srcOrd="1" destOrd="0" presId="urn:microsoft.com/office/officeart/2005/8/layout/hProcess7"/>
    <dgm:cxn modelId="{71ABB3E6-07A8-A148-93EF-7ADBC23FEFCB}" type="presParOf" srcId="{D6503065-15E9-474F-B0A2-E6F3CC899A69}" destId="{54B0BC54-0C4D-4346-A40E-814ACDAE83C1}" srcOrd="9" destOrd="0" presId="urn:microsoft.com/office/officeart/2005/8/layout/hProcess7"/>
    <dgm:cxn modelId="{C36B0E22-726B-4C48-8F78-5547A08126F0}" type="presParOf" srcId="{D6503065-15E9-474F-B0A2-E6F3CC899A69}" destId="{0D637CFC-8378-A344-B76D-5AC00F85B137}" srcOrd="10" destOrd="0" presId="urn:microsoft.com/office/officeart/2005/8/layout/hProcess7"/>
    <dgm:cxn modelId="{4BE305C7-C449-024F-B60A-8CCCD10B4F67}" type="presParOf" srcId="{0D637CFC-8378-A344-B76D-5AC00F85B137}" destId="{4CD8D2AA-9A83-434F-93BE-FEA27A34D967}" srcOrd="0" destOrd="0" presId="urn:microsoft.com/office/officeart/2005/8/layout/hProcess7"/>
    <dgm:cxn modelId="{299C003A-49D8-744D-A825-553217C15E6C}" type="presParOf" srcId="{0D637CFC-8378-A344-B76D-5AC00F85B137}" destId="{2EF8F15A-8DFC-584E-97B4-8D8BFEE8E1D5}" srcOrd="1" destOrd="0" presId="urn:microsoft.com/office/officeart/2005/8/layout/hProcess7"/>
    <dgm:cxn modelId="{7A491E77-EA84-0240-AC67-D4ED2EFDD3B8}" type="presParOf" srcId="{0D637CFC-8378-A344-B76D-5AC00F85B137}" destId="{E365B8B1-F433-3341-8F05-C98C4E6A1E64}" srcOrd="2" destOrd="0" presId="urn:microsoft.com/office/officeart/2005/8/layout/hProcess7"/>
    <dgm:cxn modelId="{3F64B0E6-BACF-E44F-8F12-310F8FEAD18E}" type="presParOf" srcId="{D6503065-15E9-474F-B0A2-E6F3CC899A69}" destId="{D423CB2B-510B-3B42-9579-683DF7599AFA}" srcOrd="11" destOrd="0" presId="urn:microsoft.com/office/officeart/2005/8/layout/hProcess7"/>
    <dgm:cxn modelId="{A6ECA78B-68B4-814E-9868-F2373D31C6A8}" type="presParOf" srcId="{D6503065-15E9-474F-B0A2-E6F3CC899A69}" destId="{C6B1C17D-B1A2-0449-9F16-17013C603C6B}" srcOrd="12" destOrd="0" presId="urn:microsoft.com/office/officeart/2005/8/layout/hProcess7"/>
    <dgm:cxn modelId="{FAE3A74A-1E4E-C049-A424-6CF765685FD7}" type="presParOf" srcId="{C6B1C17D-B1A2-0449-9F16-17013C603C6B}" destId="{7A7604CB-49A3-914B-8062-9261A3091584}" srcOrd="0" destOrd="0" presId="urn:microsoft.com/office/officeart/2005/8/layout/hProcess7"/>
    <dgm:cxn modelId="{FB4868B3-C25E-EF4C-96A6-96685A834363}" type="presParOf" srcId="{C6B1C17D-B1A2-0449-9F16-17013C603C6B}" destId="{37B1F30F-30CF-994C-A187-B1067283CE25}" srcOrd="1" destOrd="0" presId="urn:microsoft.com/office/officeart/2005/8/layout/hProcess7"/>
    <dgm:cxn modelId="{DF9CFBF3-5ADD-1448-AAC0-95404234032F}" type="presParOf" srcId="{D6503065-15E9-474F-B0A2-E6F3CC899A69}" destId="{BAB39446-E5CD-BB4D-A6C2-B9D0ECD0D9DE}" srcOrd="13" destOrd="0" presId="urn:microsoft.com/office/officeart/2005/8/layout/hProcess7"/>
    <dgm:cxn modelId="{772F5A43-F345-2E42-B46C-05614DB6336D}" type="presParOf" srcId="{D6503065-15E9-474F-B0A2-E6F3CC899A69}" destId="{71E9C2EF-3A36-4448-B697-C9EB5DB34078}" srcOrd="14" destOrd="0" presId="urn:microsoft.com/office/officeart/2005/8/layout/hProcess7"/>
    <dgm:cxn modelId="{F04C105B-91CD-6742-B087-795C4F98C404}" type="presParOf" srcId="{71E9C2EF-3A36-4448-B697-C9EB5DB34078}" destId="{79A7D5BF-28B8-CF43-8C34-EEDA64CA5D60}" srcOrd="0" destOrd="0" presId="urn:microsoft.com/office/officeart/2005/8/layout/hProcess7"/>
    <dgm:cxn modelId="{000AB415-86E8-8048-BA6C-A9C69F384A8D}" type="presParOf" srcId="{71E9C2EF-3A36-4448-B697-C9EB5DB34078}" destId="{D0A387FE-5AD3-434A-BE32-BE4063DA5BC8}" srcOrd="1" destOrd="0" presId="urn:microsoft.com/office/officeart/2005/8/layout/hProcess7"/>
    <dgm:cxn modelId="{7C6D5533-12F9-984F-BB55-BEB7A487BE7C}" type="presParOf" srcId="{71E9C2EF-3A36-4448-B697-C9EB5DB34078}" destId="{B958BC14-603C-2542-8344-0729913DBC84}" srcOrd="2" destOrd="0" presId="urn:microsoft.com/office/officeart/2005/8/layout/hProcess7"/>
    <dgm:cxn modelId="{B9F9E9F4-1D44-F44E-8FD9-0394E8FC429D}" type="presParOf" srcId="{D6503065-15E9-474F-B0A2-E6F3CC899A69}" destId="{B9425877-A03B-C64A-8603-CBF1E086C146}" srcOrd="15" destOrd="0" presId="urn:microsoft.com/office/officeart/2005/8/layout/hProcess7"/>
    <dgm:cxn modelId="{AB7E5091-A010-1C46-A9AF-5B8B5BA137FE}" type="presParOf" srcId="{D6503065-15E9-474F-B0A2-E6F3CC899A69}" destId="{2F695ECA-A2A3-6946-9E3B-D8BCD40926E2}" srcOrd="16" destOrd="0" presId="urn:microsoft.com/office/officeart/2005/8/layout/hProcess7"/>
    <dgm:cxn modelId="{94D8DC6D-F26E-2043-AFA1-503FC70A3D8C}" type="presParOf" srcId="{2F695ECA-A2A3-6946-9E3B-D8BCD40926E2}" destId="{955074DD-F37B-3C4F-85D8-EC4264CE17EC}" srcOrd="0" destOrd="0" presId="urn:microsoft.com/office/officeart/2005/8/layout/hProcess7"/>
    <dgm:cxn modelId="{081BC37A-C7F9-2F4A-9CE6-F5D8EFFED5CD}" type="presParOf" srcId="{2F695ECA-A2A3-6946-9E3B-D8BCD40926E2}" destId="{5CABA2EF-2359-6341-9B01-998039ABF022}" srcOrd="1" destOrd="0" presId="urn:microsoft.com/office/officeart/2005/8/layout/hProcess7"/>
    <dgm:cxn modelId="{62947630-1089-B64B-B29C-4DD85EE97E83}" type="presParOf" srcId="{D6503065-15E9-474F-B0A2-E6F3CC899A69}" destId="{B3920530-A6E8-0141-B1F9-E54C2D833E42}" srcOrd="17" destOrd="0" presId="urn:microsoft.com/office/officeart/2005/8/layout/hProcess7"/>
    <dgm:cxn modelId="{6A9FE6B4-8459-4046-9CE2-591832A2F023}" type="presParOf" srcId="{D6503065-15E9-474F-B0A2-E6F3CC899A69}" destId="{8702A9E0-66A3-4745-8074-C576C79F0188}" srcOrd="18" destOrd="0" presId="urn:microsoft.com/office/officeart/2005/8/layout/hProcess7"/>
    <dgm:cxn modelId="{13BD8DE7-37B8-2941-BCF2-0DF3D26E56D6}" type="presParOf" srcId="{8702A9E0-66A3-4745-8074-C576C79F0188}" destId="{6A766637-6677-8F4C-A3F0-3AA493D12E5C}" srcOrd="0" destOrd="0" presId="urn:microsoft.com/office/officeart/2005/8/layout/hProcess7"/>
    <dgm:cxn modelId="{1B4A9931-7645-3545-BE7B-176392E2B08F}" type="presParOf" srcId="{8702A9E0-66A3-4745-8074-C576C79F0188}" destId="{3D85ABBE-2D6B-9D40-A0A4-939176E7138D}" srcOrd="1" destOrd="0" presId="urn:microsoft.com/office/officeart/2005/8/layout/hProcess7"/>
    <dgm:cxn modelId="{E102CAB5-0D38-084F-BE4A-C4C9BF73CEA6}" type="presParOf" srcId="{8702A9E0-66A3-4745-8074-C576C79F0188}" destId="{B25E2547-6B07-124B-A3D2-B406E84D2E8D}" srcOrd="2" destOrd="0" presId="urn:microsoft.com/office/officeart/2005/8/layout/hProcess7"/>
    <dgm:cxn modelId="{681C2D1C-61AD-D54B-AFA6-3DFF7C32C490}" type="presParOf" srcId="{D6503065-15E9-474F-B0A2-E6F3CC899A69}" destId="{1084D663-8916-814A-A735-24ADC5CCD2B7}" srcOrd="19" destOrd="0" presId="urn:microsoft.com/office/officeart/2005/8/layout/hProcess7"/>
    <dgm:cxn modelId="{DB938E47-A9AF-EA40-A299-650643098EBB}" type="presParOf" srcId="{D6503065-15E9-474F-B0A2-E6F3CC899A69}" destId="{391E5F4B-6BA4-7241-9CDC-60181277D8AB}" srcOrd="20" destOrd="0" presId="urn:microsoft.com/office/officeart/2005/8/layout/hProcess7"/>
    <dgm:cxn modelId="{1DEBA528-84F9-B84D-BF8D-164F9038FDE7}" type="presParOf" srcId="{391E5F4B-6BA4-7241-9CDC-60181277D8AB}" destId="{0662D13B-F5DF-1A42-BC70-F1010D660B30}" srcOrd="0" destOrd="0" presId="urn:microsoft.com/office/officeart/2005/8/layout/hProcess7"/>
    <dgm:cxn modelId="{C39C5138-A44C-D24F-BF88-609C2AAED9DE}" type="presParOf" srcId="{391E5F4B-6BA4-7241-9CDC-60181277D8AB}" destId="{5DB7EFEE-D49F-2A42-B826-02FA4BCB3E89}" srcOrd="1" destOrd="0" presId="urn:microsoft.com/office/officeart/2005/8/layout/hProcess7"/>
    <dgm:cxn modelId="{524EB719-6D43-FB40-BADB-DB4D51324029}" type="presParOf" srcId="{D6503065-15E9-474F-B0A2-E6F3CC899A69}" destId="{BECF0666-34FA-2942-ADF7-DCEAC7B9D2BF}" srcOrd="21" destOrd="0" presId="urn:microsoft.com/office/officeart/2005/8/layout/hProcess7"/>
    <dgm:cxn modelId="{8769A93F-09F2-AB4D-B66D-43BEF16F9FA1}" type="presParOf" srcId="{D6503065-15E9-474F-B0A2-E6F3CC899A69}" destId="{D5C20E95-BD99-034F-946C-AB1D0DC7F996}" srcOrd="22" destOrd="0" presId="urn:microsoft.com/office/officeart/2005/8/layout/hProcess7"/>
    <dgm:cxn modelId="{28190726-19F4-4B46-B600-FE828538C5B2}" type="presParOf" srcId="{D5C20E95-BD99-034F-946C-AB1D0DC7F996}" destId="{8E343174-646C-6E42-BE82-FB3AA074F5B3}" srcOrd="0" destOrd="0" presId="urn:microsoft.com/office/officeart/2005/8/layout/hProcess7"/>
    <dgm:cxn modelId="{61CA9D42-A00C-0D46-8FFB-208BE310BD49}" type="presParOf" srcId="{D5C20E95-BD99-034F-946C-AB1D0DC7F996}" destId="{889DD14F-26DC-4E4B-914C-CB0717659A6C}" srcOrd="1" destOrd="0" presId="urn:microsoft.com/office/officeart/2005/8/layout/hProcess7"/>
    <dgm:cxn modelId="{4625139E-68E7-B64D-8977-5989323AEA2E}" type="presParOf" srcId="{D5C20E95-BD99-034F-946C-AB1D0DC7F996}" destId="{5ADF75C0-2114-0E4E-B29B-0C94F23413FD}" srcOrd="2" destOrd="0" presId="urn:microsoft.com/office/officeart/2005/8/layout/hProcess7"/>
    <dgm:cxn modelId="{46709484-AE9A-014A-9A44-0DA95DCE625C}" type="presParOf" srcId="{D6503065-15E9-474F-B0A2-E6F3CC899A69}" destId="{0EABE22D-7421-5245-A2D5-6DE3961C7A2D}" srcOrd="23" destOrd="0" presId="urn:microsoft.com/office/officeart/2005/8/layout/hProcess7"/>
    <dgm:cxn modelId="{D56CDB29-B531-A34D-9152-34CB75278DBE}" type="presParOf" srcId="{D6503065-15E9-474F-B0A2-E6F3CC899A69}" destId="{48944C1F-D4AE-D94C-A377-8405786BAE6B}" srcOrd="24" destOrd="0" presId="urn:microsoft.com/office/officeart/2005/8/layout/hProcess7"/>
    <dgm:cxn modelId="{E1F1D728-3D78-4D4D-9C1C-2B3AFFD99BDD}" type="presParOf" srcId="{48944C1F-D4AE-D94C-A377-8405786BAE6B}" destId="{812A7E82-0D16-F34C-B4B8-949600A7B304}" srcOrd="0" destOrd="0" presId="urn:microsoft.com/office/officeart/2005/8/layout/hProcess7"/>
    <dgm:cxn modelId="{0E577DDC-CF07-7F4C-B9C0-E36A065AB882}" type="presParOf" srcId="{48944C1F-D4AE-D94C-A377-8405786BAE6B}" destId="{BED4969E-1B3F-EE4B-A0FB-5B0E9A4E45DB}" srcOrd="1" destOrd="0" presId="urn:microsoft.com/office/officeart/2005/8/layout/hProcess7"/>
    <dgm:cxn modelId="{3E76AA5F-1986-834F-95D2-071CA1E6027D}" type="presParOf" srcId="{D6503065-15E9-474F-B0A2-E6F3CC899A69}" destId="{62F3C6DB-AE30-C842-A721-91A08E5BA14A}" srcOrd="25" destOrd="0" presId="urn:microsoft.com/office/officeart/2005/8/layout/hProcess7"/>
    <dgm:cxn modelId="{3D9B5156-846E-9240-8D6E-7C70469BBF2B}" type="presParOf" srcId="{D6503065-15E9-474F-B0A2-E6F3CC899A69}" destId="{69E7CF59-80D3-1E43-B22B-F961636A6233}" srcOrd="26" destOrd="0" presId="urn:microsoft.com/office/officeart/2005/8/layout/hProcess7"/>
    <dgm:cxn modelId="{D7805E2F-C91A-D94A-B71E-776EDC1E298E}" type="presParOf" srcId="{69E7CF59-80D3-1E43-B22B-F961636A6233}" destId="{550AE1C0-AC4D-4740-8DEB-4D3F6660F155}" srcOrd="0" destOrd="0" presId="urn:microsoft.com/office/officeart/2005/8/layout/hProcess7"/>
    <dgm:cxn modelId="{0AD7E181-B665-2A4E-9C59-A8A92483D033}" type="presParOf" srcId="{69E7CF59-80D3-1E43-B22B-F961636A6233}" destId="{96EEAA5B-A9B0-814E-AEBF-068E03499942}" srcOrd="1" destOrd="0" presId="urn:microsoft.com/office/officeart/2005/8/layout/hProcess7"/>
    <dgm:cxn modelId="{B174913A-ACDC-6E45-A836-2B082440C8AA}" type="presParOf" srcId="{69E7CF59-80D3-1E43-B22B-F961636A6233}" destId="{48B881FB-AC9A-4545-B171-804ABC26088A}" srcOrd="2" destOrd="0" presId="urn:microsoft.com/office/officeart/2005/8/layout/hProcess7"/>
    <dgm:cxn modelId="{1D29C872-4DFB-9547-9765-15D710763B24}" type="presParOf" srcId="{D6503065-15E9-474F-B0A2-E6F3CC899A69}" destId="{C7C8F9EA-C714-6641-96BC-37CDB9E0BC7A}" srcOrd="27" destOrd="0" presId="urn:microsoft.com/office/officeart/2005/8/layout/hProcess7"/>
    <dgm:cxn modelId="{126580B2-06BB-1E42-A461-8ED070EC4972}" type="presParOf" srcId="{D6503065-15E9-474F-B0A2-E6F3CC899A69}" destId="{AD55DB5D-D17C-784E-B593-1C398EF9EEC9}" srcOrd="28" destOrd="0" presId="urn:microsoft.com/office/officeart/2005/8/layout/hProcess7"/>
    <dgm:cxn modelId="{1E78E576-BDCD-534F-B671-631B28A4A0DC}" type="presParOf" srcId="{AD55DB5D-D17C-784E-B593-1C398EF9EEC9}" destId="{E5828ECC-C7CF-5545-AC2A-05CFA0DF17E8}" srcOrd="0" destOrd="0" presId="urn:microsoft.com/office/officeart/2005/8/layout/hProcess7"/>
    <dgm:cxn modelId="{B768730F-C3E7-BB40-94D7-81453DF11E40}" type="presParOf" srcId="{AD55DB5D-D17C-784E-B593-1C398EF9EEC9}" destId="{B343B599-BFB4-1F40-ADB1-2DD8A65AA68A}" srcOrd="1" destOrd="0" presId="urn:microsoft.com/office/officeart/2005/8/layout/hProcess7"/>
    <dgm:cxn modelId="{D1506D69-A8D2-144C-9E03-FFDB9B322EA5}" type="presParOf" srcId="{D6503065-15E9-474F-B0A2-E6F3CC899A69}" destId="{9BC120EE-4B41-8E47-AF44-56529E39F622}" srcOrd="29" destOrd="0" presId="urn:microsoft.com/office/officeart/2005/8/layout/hProcess7"/>
    <dgm:cxn modelId="{2E92C9A5-E316-F24D-B860-4B3F7EDCB307}" type="presParOf" srcId="{D6503065-15E9-474F-B0A2-E6F3CC899A69}" destId="{45BD87C0-0BA4-2849-B77B-7BCDD1A2B9F3}" srcOrd="30" destOrd="0" presId="urn:microsoft.com/office/officeart/2005/8/layout/hProcess7"/>
    <dgm:cxn modelId="{06A15E7A-76CB-F346-A350-B8A228DCABAC}" type="presParOf" srcId="{45BD87C0-0BA4-2849-B77B-7BCDD1A2B9F3}" destId="{34AAE533-5B1D-FE47-8957-4B4FD34878A1}" srcOrd="0" destOrd="0" presId="urn:microsoft.com/office/officeart/2005/8/layout/hProcess7"/>
    <dgm:cxn modelId="{964E92EA-2745-A046-9E52-ACE97825F688}" type="presParOf" srcId="{45BD87C0-0BA4-2849-B77B-7BCDD1A2B9F3}" destId="{DF25C747-B8FD-E544-9474-5123AE8C747C}" srcOrd="1" destOrd="0" presId="urn:microsoft.com/office/officeart/2005/8/layout/hProcess7"/>
    <dgm:cxn modelId="{1AAC8E11-2D8F-CA45-92B5-0D6A88469332}" type="presParOf" srcId="{45BD87C0-0BA4-2849-B77B-7BCDD1A2B9F3}" destId="{6E1F1215-EC07-7645-8E2D-A85C466B0B51}" srcOrd="2" destOrd="0" presId="urn:microsoft.com/office/officeart/2005/8/layout/hProcess7"/>
    <dgm:cxn modelId="{85B78F0D-F9B4-8A44-A885-EE95ACEBCE03}" type="presParOf" srcId="{D6503065-15E9-474F-B0A2-E6F3CC899A69}" destId="{77D08908-5720-8048-AB11-D26A58D9CCD0}" srcOrd="31" destOrd="0" presId="urn:microsoft.com/office/officeart/2005/8/layout/hProcess7"/>
    <dgm:cxn modelId="{EC304AAB-61BE-9E46-A32B-65C85BCF3349}" type="presParOf" srcId="{D6503065-15E9-474F-B0A2-E6F3CC899A69}" destId="{4E9B40A2-98CC-C24A-B06C-6C7E4EAD6C8F}" srcOrd="32" destOrd="0" presId="urn:microsoft.com/office/officeart/2005/8/layout/hProcess7"/>
    <dgm:cxn modelId="{0AC9D4D0-FA49-3947-B8FD-E3DC1E79E839}" type="presParOf" srcId="{4E9B40A2-98CC-C24A-B06C-6C7E4EAD6C8F}" destId="{BBF18F4A-B292-1648-A3A4-CEC753A01EA5}" srcOrd="0" destOrd="0" presId="urn:microsoft.com/office/officeart/2005/8/layout/hProcess7"/>
    <dgm:cxn modelId="{65B3AC02-5672-4743-9463-40040B5B2929}" type="presParOf" srcId="{4E9B40A2-98CC-C24A-B06C-6C7E4EAD6C8F}" destId="{09CD69D3-816D-3B4F-835F-273A3AD03C19}" srcOrd="1" destOrd="0" presId="urn:microsoft.com/office/officeart/2005/8/layout/hProcess7"/>
    <dgm:cxn modelId="{8A26846E-71C4-764F-8644-30EEDF66AFF2}" type="presParOf" srcId="{D6503065-15E9-474F-B0A2-E6F3CC899A69}" destId="{872784DC-E8D0-1545-97E7-FCEB73599FA5}" srcOrd="33" destOrd="0" presId="urn:microsoft.com/office/officeart/2005/8/layout/hProcess7"/>
    <dgm:cxn modelId="{94FFD9EA-CCC5-FC41-B46C-C33E9D2B30C2}" type="presParOf" srcId="{D6503065-15E9-474F-B0A2-E6F3CC899A69}" destId="{DA0A83C5-1EC1-BA46-908F-4FB3800F5590}" srcOrd="34" destOrd="0" presId="urn:microsoft.com/office/officeart/2005/8/layout/hProcess7"/>
    <dgm:cxn modelId="{4E87CACB-C381-F849-90F6-9EC8820298E7}" type="presParOf" srcId="{DA0A83C5-1EC1-BA46-908F-4FB3800F5590}" destId="{F55A4F81-FFCC-9549-9782-61D78136BD4B}" srcOrd="0" destOrd="0" presId="urn:microsoft.com/office/officeart/2005/8/layout/hProcess7"/>
    <dgm:cxn modelId="{436C0B81-2706-3540-B69C-0A72FBE94D1E}" type="presParOf" srcId="{DA0A83C5-1EC1-BA46-908F-4FB3800F5590}" destId="{3CCE10E6-0316-2642-83C9-AA978D3D6F64}" srcOrd="1" destOrd="0" presId="urn:microsoft.com/office/officeart/2005/8/layout/hProcess7"/>
    <dgm:cxn modelId="{2A2C25AF-23F0-2841-B0DC-89FE19EDBA42}" type="presParOf" srcId="{DA0A83C5-1EC1-BA46-908F-4FB3800F5590}" destId="{0F007F55-4005-A24F-8298-1E008FF5D1BE}" srcOrd="2" destOrd="0" presId="urn:microsoft.com/office/officeart/2005/8/layout/hProcess7"/>
    <dgm:cxn modelId="{F445DAD9-1E62-E549-B247-1F993387835E}" type="presParOf" srcId="{D6503065-15E9-474F-B0A2-E6F3CC899A69}" destId="{A6BA76B0-0CE4-EB49-9C68-C1472C8E99D0}" srcOrd="35" destOrd="0" presId="urn:microsoft.com/office/officeart/2005/8/layout/hProcess7"/>
    <dgm:cxn modelId="{B8C0BBAE-CC59-F145-BB72-FF2E7AF2A567}" type="presParOf" srcId="{D6503065-15E9-474F-B0A2-E6F3CC899A69}" destId="{A534EF97-9B57-344A-BF5F-7DB3177B8EC0}" srcOrd="36" destOrd="0" presId="urn:microsoft.com/office/officeart/2005/8/layout/hProcess7"/>
    <dgm:cxn modelId="{2ACEAA0D-AD03-1447-BD04-EF8F92567FF7}" type="presParOf" srcId="{A534EF97-9B57-344A-BF5F-7DB3177B8EC0}" destId="{C1C80E5D-CEA7-AF46-B59B-84D5FAB2D778}" srcOrd="0" destOrd="0" presId="urn:microsoft.com/office/officeart/2005/8/layout/hProcess7"/>
    <dgm:cxn modelId="{6AA10327-646F-7E4E-A9BE-7F37CD0F7C4B}" type="presParOf" srcId="{A534EF97-9B57-344A-BF5F-7DB3177B8EC0}" destId="{AC24F9D0-84D9-854F-92C0-3AF35E67A884}" srcOrd="1" destOrd="0" presId="urn:microsoft.com/office/officeart/2005/8/layout/hProcess7"/>
  </dgm:cxnLst>
  <dgm:bg>
    <a:noFill/>
  </dgm:bg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516D63D-AB5F-6247-8750-D0A3A05185BC}">
      <dsp:nvSpPr>
        <dsp:cNvPr id="0" name=""/>
        <dsp:cNvSpPr/>
      </dsp:nvSpPr>
      <dsp:spPr>
        <a:xfrm>
          <a:off x="0" y="1714284"/>
          <a:ext cx="1119953" cy="2717857"/>
        </a:xfrm>
        <a:prstGeom prst="roundRect">
          <a:avLst>
            <a:gd name="adj" fmla="val 5000"/>
          </a:avLst>
        </a:prstGeom>
        <a:solidFill>
          <a:schemeClr val="accent3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41148" rIns="53340" bIns="0" numCol="1" spcCol="1270" anchor="t" anchorCtr="0">
          <a:noAutofit/>
        </a:bodyPr>
        <a:lstStyle/>
        <a:p>
          <a:pPr marL="0" lvl="0" indent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/>
            <a:t>Early 1990’s</a:t>
          </a:r>
        </a:p>
      </dsp:txBody>
      <dsp:txXfrm rot="16200000">
        <a:off x="-1002326" y="2716610"/>
        <a:ext cx="2228642" cy="223990"/>
      </dsp:txXfrm>
    </dsp:sp>
    <dsp:sp modelId="{64CAD3FB-B896-2342-8882-781CB108B4CE}">
      <dsp:nvSpPr>
        <dsp:cNvPr id="0" name=""/>
        <dsp:cNvSpPr/>
      </dsp:nvSpPr>
      <dsp:spPr>
        <a:xfrm>
          <a:off x="223990" y="1714284"/>
          <a:ext cx="834365" cy="2717857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44577" rIns="0" bIns="0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300" kern="1200" dirty="0"/>
        </a:p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300" kern="1200" dirty="0"/>
        </a:p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300" kern="1200" dirty="0"/>
        </a:p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300" kern="1200" dirty="0"/>
        </a:p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>
              <a:latin typeface="Arial" panose="020B0604020202020204" pitchFamily="34" charset="0"/>
              <a:cs typeface="Arial" panose="020B0604020202020204" pitchFamily="34" charset="0"/>
            </a:rPr>
            <a:t>Initial contact with Sir William Wright: Consulting and Engine Projects.</a:t>
          </a:r>
        </a:p>
      </dsp:txBody>
      <dsp:txXfrm>
        <a:off x="223990" y="1714284"/>
        <a:ext cx="834365" cy="2717857"/>
      </dsp:txXfrm>
    </dsp:sp>
    <dsp:sp modelId="{5EEBF742-AAB6-6449-B816-A3C7CC3B57DD}">
      <dsp:nvSpPr>
        <dsp:cNvPr id="0" name=""/>
        <dsp:cNvSpPr/>
      </dsp:nvSpPr>
      <dsp:spPr>
        <a:xfrm>
          <a:off x="1161840" y="1694972"/>
          <a:ext cx="1102705" cy="2734952"/>
        </a:xfrm>
        <a:prstGeom prst="roundRect">
          <a:avLst>
            <a:gd name="adj" fmla="val 5000"/>
          </a:avLst>
        </a:prstGeom>
        <a:solidFill>
          <a:schemeClr val="accent3">
            <a:shade val="80000"/>
            <a:hueOff val="0"/>
            <a:satOff val="0"/>
            <a:lumOff val="212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41148" rIns="53340" bIns="0" numCol="1" spcCol="1270" anchor="t" anchorCtr="0">
          <a:noAutofit/>
        </a:bodyPr>
        <a:lstStyle/>
        <a:p>
          <a:pPr marL="0" lvl="0" indent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/>
            <a:t>Early 200’s</a:t>
          </a:r>
        </a:p>
      </dsp:txBody>
      <dsp:txXfrm rot="16200000">
        <a:off x="150780" y="2706031"/>
        <a:ext cx="2242660" cy="220541"/>
      </dsp:txXfrm>
    </dsp:sp>
    <dsp:sp modelId="{EFA56D70-A02B-AF4B-9711-0A78EDCE9CA3}">
      <dsp:nvSpPr>
        <dsp:cNvPr id="0" name=""/>
        <dsp:cNvSpPr/>
      </dsp:nvSpPr>
      <dsp:spPr>
        <a:xfrm rot="5400000">
          <a:off x="1068704" y="2762889"/>
          <a:ext cx="197470" cy="167992"/>
        </a:xfrm>
        <a:prstGeom prst="flowChartExtra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206482A-954A-D84D-BA99-C569E4211D83}">
      <dsp:nvSpPr>
        <dsp:cNvPr id="0" name=""/>
        <dsp:cNvSpPr/>
      </dsp:nvSpPr>
      <dsp:spPr>
        <a:xfrm>
          <a:off x="2303744" y="1694972"/>
          <a:ext cx="1119953" cy="2750931"/>
        </a:xfrm>
        <a:prstGeom prst="roundRect">
          <a:avLst>
            <a:gd name="adj" fmla="val 5000"/>
          </a:avLst>
        </a:prstGeom>
        <a:solidFill>
          <a:schemeClr val="accent3">
            <a:shade val="80000"/>
            <a:hueOff val="0"/>
            <a:satOff val="0"/>
            <a:lumOff val="424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41148" rIns="53340" bIns="0" numCol="1" spcCol="1270" anchor="t" anchorCtr="0">
          <a:noAutofit/>
        </a:bodyPr>
        <a:lstStyle/>
        <a:p>
          <a:pPr marL="0" lvl="0" indent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/>
            <a:t>2006</a:t>
          </a:r>
        </a:p>
      </dsp:txBody>
      <dsp:txXfrm rot="16200000">
        <a:off x="1287858" y="2710858"/>
        <a:ext cx="2255764" cy="223990"/>
      </dsp:txXfrm>
    </dsp:sp>
    <dsp:sp modelId="{B8A072E1-2EA7-3E4A-ACB7-C551F7459C1B}">
      <dsp:nvSpPr>
        <dsp:cNvPr id="0" name=""/>
        <dsp:cNvSpPr/>
      </dsp:nvSpPr>
      <dsp:spPr>
        <a:xfrm rot="5400000">
          <a:off x="2210609" y="2762889"/>
          <a:ext cx="197470" cy="167992"/>
        </a:xfrm>
        <a:prstGeom prst="flowChartExtra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238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A7604CB-49A3-914B-8062-9261A3091584}">
      <dsp:nvSpPr>
        <dsp:cNvPr id="0" name=""/>
        <dsp:cNvSpPr/>
      </dsp:nvSpPr>
      <dsp:spPr>
        <a:xfrm>
          <a:off x="3462896" y="1694972"/>
          <a:ext cx="1119953" cy="2750931"/>
        </a:xfrm>
        <a:prstGeom prst="roundRect">
          <a:avLst>
            <a:gd name="adj" fmla="val 5000"/>
          </a:avLst>
        </a:prstGeom>
        <a:solidFill>
          <a:schemeClr val="accent3">
            <a:shade val="80000"/>
            <a:hueOff val="0"/>
            <a:satOff val="0"/>
            <a:lumOff val="636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41148" rIns="53340" bIns="0" numCol="1" spcCol="1270" anchor="t" anchorCtr="0">
          <a:noAutofit/>
        </a:bodyPr>
        <a:lstStyle/>
        <a:p>
          <a:pPr marL="0" lvl="0" indent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/>
            <a:t>2007</a:t>
          </a:r>
        </a:p>
      </dsp:txBody>
      <dsp:txXfrm rot="16200000">
        <a:off x="2447009" y="2710858"/>
        <a:ext cx="2255764" cy="223990"/>
      </dsp:txXfrm>
    </dsp:sp>
    <dsp:sp modelId="{2EF8F15A-8DFC-584E-97B4-8D8BFEE8E1D5}">
      <dsp:nvSpPr>
        <dsp:cNvPr id="0" name=""/>
        <dsp:cNvSpPr/>
      </dsp:nvSpPr>
      <dsp:spPr>
        <a:xfrm rot="5400000">
          <a:off x="3369760" y="2762889"/>
          <a:ext cx="197470" cy="167992"/>
        </a:xfrm>
        <a:prstGeom prst="flowChartExtra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477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55074DD-F37B-3C4F-85D8-EC4264CE17EC}">
      <dsp:nvSpPr>
        <dsp:cNvPr id="0" name=""/>
        <dsp:cNvSpPr/>
      </dsp:nvSpPr>
      <dsp:spPr>
        <a:xfrm>
          <a:off x="4622047" y="1694972"/>
          <a:ext cx="1119953" cy="2750931"/>
        </a:xfrm>
        <a:prstGeom prst="roundRect">
          <a:avLst>
            <a:gd name="adj" fmla="val 5000"/>
          </a:avLst>
        </a:prstGeom>
        <a:solidFill>
          <a:schemeClr val="accent3">
            <a:shade val="80000"/>
            <a:hueOff val="0"/>
            <a:satOff val="0"/>
            <a:lumOff val="848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41148" rIns="53340" bIns="0" numCol="1" spcCol="1270" anchor="t" anchorCtr="0">
          <a:noAutofit/>
        </a:bodyPr>
        <a:lstStyle/>
        <a:p>
          <a:pPr marL="0" lvl="0" indent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/>
            <a:t>2010</a:t>
          </a:r>
        </a:p>
      </dsp:txBody>
      <dsp:txXfrm rot="16200000">
        <a:off x="3606160" y="2710858"/>
        <a:ext cx="2255764" cy="223990"/>
      </dsp:txXfrm>
    </dsp:sp>
    <dsp:sp modelId="{D0A387FE-5AD3-434A-BE32-BE4063DA5BC8}">
      <dsp:nvSpPr>
        <dsp:cNvPr id="0" name=""/>
        <dsp:cNvSpPr/>
      </dsp:nvSpPr>
      <dsp:spPr>
        <a:xfrm rot="5400000">
          <a:off x="4528911" y="2762889"/>
          <a:ext cx="197470" cy="167992"/>
        </a:xfrm>
        <a:prstGeom prst="flowChartExtra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715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662D13B-F5DF-1A42-BC70-F1010D660B30}">
      <dsp:nvSpPr>
        <dsp:cNvPr id="0" name=""/>
        <dsp:cNvSpPr/>
      </dsp:nvSpPr>
      <dsp:spPr>
        <a:xfrm>
          <a:off x="5781199" y="1694972"/>
          <a:ext cx="1119953" cy="2750931"/>
        </a:xfrm>
        <a:prstGeom prst="roundRect">
          <a:avLst>
            <a:gd name="adj" fmla="val 5000"/>
          </a:avLst>
        </a:prstGeom>
        <a:solidFill>
          <a:schemeClr val="accent3">
            <a:shade val="80000"/>
            <a:hueOff val="0"/>
            <a:satOff val="0"/>
            <a:lumOff val="1060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41148" rIns="53340" bIns="0" numCol="1" spcCol="1270" anchor="t" anchorCtr="0">
          <a:noAutofit/>
        </a:bodyPr>
        <a:lstStyle/>
        <a:p>
          <a:pPr marL="0" lvl="0" indent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/>
            <a:t>2017</a:t>
          </a:r>
        </a:p>
      </dsp:txBody>
      <dsp:txXfrm rot="16200000">
        <a:off x="4765312" y="2710858"/>
        <a:ext cx="2255764" cy="223990"/>
      </dsp:txXfrm>
    </dsp:sp>
    <dsp:sp modelId="{3D85ABBE-2D6B-9D40-A0A4-939176E7138D}">
      <dsp:nvSpPr>
        <dsp:cNvPr id="0" name=""/>
        <dsp:cNvSpPr/>
      </dsp:nvSpPr>
      <dsp:spPr>
        <a:xfrm rot="5400000">
          <a:off x="5688063" y="2762889"/>
          <a:ext cx="197470" cy="167992"/>
        </a:xfrm>
        <a:prstGeom prst="flowChartExtra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954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12A7E82-0D16-F34C-B4B8-949600A7B304}">
      <dsp:nvSpPr>
        <dsp:cNvPr id="0" name=""/>
        <dsp:cNvSpPr/>
      </dsp:nvSpPr>
      <dsp:spPr>
        <a:xfrm>
          <a:off x="6940350" y="1694972"/>
          <a:ext cx="1119953" cy="2750931"/>
        </a:xfrm>
        <a:prstGeom prst="roundRect">
          <a:avLst>
            <a:gd name="adj" fmla="val 5000"/>
          </a:avLst>
        </a:prstGeom>
        <a:solidFill>
          <a:schemeClr val="accent3">
            <a:shade val="80000"/>
            <a:hueOff val="0"/>
            <a:satOff val="0"/>
            <a:lumOff val="127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41148" rIns="53340" bIns="0" numCol="1" spcCol="1270" anchor="t" anchorCtr="0">
          <a:noAutofit/>
        </a:bodyPr>
        <a:lstStyle/>
        <a:p>
          <a:pPr marL="0" lvl="0" indent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/>
            <a:t>2018</a:t>
          </a:r>
        </a:p>
      </dsp:txBody>
      <dsp:txXfrm rot="16200000">
        <a:off x="5924463" y="2710858"/>
        <a:ext cx="2255764" cy="223990"/>
      </dsp:txXfrm>
    </dsp:sp>
    <dsp:sp modelId="{889DD14F-26DC-4E4B-914C-CB0717659A6C}">
      <dsp:nvSpPr>
        <dsp:cNvPr id="0" name=""/>
        <dsp:cNvSpPr/>
      </dsp:nvSpPr>
      <dsp:spPr>
        <a:xfrm rot="5400000">
          <a:off x="6847214" y="2762889"/>
          <a:ext cx="197470" cy="167992"/>
        </a:xfrm>
        <a:prstGeom prst="flowChartExtra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1193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5828ECC-C7CF-5545-AC2A-05CFA0DF17E8}">
      <dsp:nvSpPr>
        <dsp:cNvPr id="0" name=""/>
        <dsp:cNvSpPr/>
      </dsp:nvSpPr>
      <dsp:spPr>
        <a:xfrm>
          <a:off x="8099501" y="1694972"/>
          <a:ext cx="1119953" cy="2750931"/>
        </a:xfrm>
        <a:prstGeom prst="roundRect">
          <a:avLst>
            <a:gd name="adj" fmla="val 5000"/>
          </a:avLst>
        </a:prstGeom>
        <a:solidFill>
          <a:schemeClr val="accent3">
            <a:shade val="80000"/>
            <a:hueOff val="0"/>
            <a:satOff val="0"/>
            <a:lumOff val="1484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41148" rIns="53340" bIns="0" numCol="1" spcCol="1270" anchor="t" anchorCtr="0">
          <a:noAutofit/>
        </a:bodyPr>
        <a:lstStyle/>
        <a:p>
          <a:pPr marL="0" lvl="0" indent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/>
            <a:t>2019</a:t>
          </a:r>
        </a:p>
      </dsp:txBody>
      <dsp:txXfrm rot="16200000">
        <a:off x="7083615" y="2710858"/>
        <a:ext cx="2255764" cy="223990"/>
      </dsp:txXfrm>
    </dsp:sp>
    <dsp:sp modelId="{96EEAA5B-A9B0-814E-AEBF-068E03499942}">
      <dsp:nvSpPr>
        <dsp:cNvPr id="0" name=""/>
        <dsp:cNvSpPr/>
      </dsp:nvSpPr>
      <dsp:spPr>
        <a:xfrm rot="5400000">
          <a:off x="8006366" y="2762889"/>
          <a:ext cx="197470" cy="167992"/>
        </a:xfrm>
        <a:prstGeom prst="flowChartExtra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1431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BF18F4A-B292-1648-A3A4-CEC753A01EA5}">
      <dsp:nvSpPr>
        <dsp:cNvPr id="0" name=""/>
        <dsp:cNvSpPr/>
      </dsp:nvSpPr>
      <dsp:spPr>
        <a:xfrm>
          <a:off x="9258653" y="1694972"/>
          <a:ext cx="1119953" cy="2750931"/>
        </a:xfrm>
        <a:prstGeom prst="roundRect">
          <a:avLst>
            <a:gd name="adj" fmla="val 5000"/>
          </a:avLst>
        </a:prstGeom>
        <a:solidFill>
          <a:schemeClr val="accent3">
            <a:shade val="80000"/>
            <a:hueOff val="0"/>
            <a:satOff val="0"/>
            <a:lumOff val="1697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41148" rIns="53340" bIns="0" numCol="1" spcCol="1270" anchor="t" anchorCtr="0">
          <a:noAutofit/>
        </a:bodyPr>
        <a:lstStyle/>
        <a:p>
          <a:pPr marL="0" lvl="0" indent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/>
            <a:t>2020</a:t>
          </a:r>
        </a:p>
      </dsp:txBody>
      <dsp:txXfrm rot="16200000">
        <a:off x="8242766" y="2710858"/>
        <a:ext cx="2255764" cy="223990"/>
      </dsp:txXfrm>
    </dsp:sp>
    <dsp:sp modelId="{DF25C747-B8FD-E544-9474-5123AE8C747C}">
      <dsp:nvSpPr>
        <dsp:cNvPr id="0" name=""/>
        <dsp:cNvSpPr/>
      </dsp:nvSpPr>
      <dsp:spPr>
        <a:xfrm rot="5400000">
          <a:off x="9165517" y="2762889"/>
          <a:ext cx="197470" cy="167992"/>
        </a:xfrm>
        <a:prstGeom prst="flowChartExtra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1670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1C80E5D-CEA7-AF46-B59B-84D5FAB2D778}">
      <dsp:nvSpPr>
        <dsp:cNvPr id="0" name=""/>
        <dsp:cNvSpPr/>
      </dsp:nvSpPr>
      <dsp:spPr>
        <a:xfrm>
          <a:off x="10417804" y="1694972"/>
          <a:ext cx="1119953" cy="2750931"/>
        </a:xfrm>
        <a:prstGeom prst="roundRect">
          <a:avLst>
            <a:gd name="adj" fmla="val 5000"/>
          </a:avLst>
        </a:prstGeom>
        <a:solidFill>
          <a:schemeClr val="accent3">
            <a:shade val="80000"/>
            <a:hueOff val="0"/>
            <a:satOff val="0"/>
            <a:lumOff val="1909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41148" rIns="53340" bIns="0" numCol="1" spcCol="1270" anchor="t" anchorCtr="0">
          <a:noAutofit/>
        </a:bodyPr>
        <a:lstStyle/>
        <a:p>
          <a:pPr marL="0" lvl="0" indent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/>
            <a:t>2021</a:t>
          </a:r>
        </a:p>
      </dsp:txBody>
      <dsp:txXfrm rot="16200000">
        <a:off x="9401917" y="2710858"/>
        <a:ext cx="2255764" cy="223990"/>
      </dsp:txXfrm>
    </dsp:sp>
    <dsp:sp modelId="{3CCE10E6-0316-2642-83C9-AA978D3D6F64}">
      <dsp:nvSpPr>
        <dsp:cNvPr id="0" name=""/>
        <dsp:cNvSpPr/>
      </dsp:nvSpPr>
      <dsp:spPr>
        <a:xfrm rot="5400000">
          <a:off x="10324668" y="2762889"/>
          <a:ext cx="197470" cy="167992"/>
        </a:xfrm>
        <a:prstGeom prst="flowChartExtra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1909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7">
  <dgm:title val=""/>
  <dgm:desc val=""/>
  <dgm:catLst>
    <dgm:cat type="process" pri="21000"/>
    <dgm:cat type="list" pri="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23" srcId="2" destId="21" srcOrd="0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Node" refType="h"/>
      <dgm:constr type="w" for="ch" forName="compositeNode" refType="w"/>
      <dgm:constr type="w" for="ch" forName="hSp" refType="w" refFor="ch" refForName="compositeNode" fact="-0.035"/>
      <dgm:constr type="w" for="des" forName="simulatedConn" refType="w" refFor="ch" refForName="compositeNode" fact="0.15"/>
      <dgm:constr type="h" for="des" forName="simulatedConn" refType="w" refFor="des" refForName="simulatedConn"/>
      <dgm:constr type="h" for="des" forName="vSp1" refType="w" refFor="ch" refForName="compositeNode" fact="0.8"/>
      <dgm:constr type="h" for="des" forName="vSp2" refType="w" refFor="ch" refForName="compositeNode" fact="0.07"/>
      <dgm:constr type="w" for="ch" forName="vProcSp" refType="w" refFor="des" refForName="simulatedConn" op="equ"/>
      <dgm:constr type="h" for="ch" forName="vProcSp" refType="h" refFor="ch" refForName="compositeNode" op="equ"/>
      <dgm:constr type="w" for="ch" forName="sibTrans" refType="w" refFor="ch" refForName="compositeNode" fact="-0.08"/>
      <dgm:constr type="primFontSz" for="des" forName="parentNode" op="equ"/>
      <dgm:constr type="primFontSz" for="des" forName="childNode" op="equ"/>
    </dgm:constrLst>
    <dgm:ruleLst/>
    <dgm:forEach name="Name4" axis="ch" ptType="node">
      <dgm:layoutNode name="compositeNode">
        <dgm:varLst>
          <dgm:bulletEnabled val="1"/>
        </dgm:varLst>
        <dgm:alg type="composite"/>
        <dgm:choose name="Name5">
          <dgm:if name="Name6" func="var" arg="dir" op="equ" val="norm">
            <dgm:constrLst>
              <dgm:constr type="h" refType="w" op="lte" fact="1.2"/>
              <dgm:constr type="w" for="ch" forName="bgRect" refType="w"/>
              <dgm:constr type="h" for="ch" forName="bgRect" refType="h"/>
              <dgm:constr type="t" for="ch" forName="bgRect"/>
              <dgm:constr type="l" for="ch" forName="bgRect"/>
              <dgm:constr type="w" for="ch" forName="parentNode" refType="w" refFor="ch" refForName="bgRect" fact="0.2"/>
              <dgm:constr type="h" for="ch" forName="parentNode" refType="h" fact="0.82"/>
              <dgm:constr type="t" for="ch" forName="parentNode"/>
              <dgm:constr type="l" for="ch" forName="parentNode"/>
              <dgm:constr type="r" for="ch" forName="childNode" refType="r" refFor="ch" refForName="bgRect" fact="0.945"/>
              <dgm:constr type="h" for="ch" forName="childNode" refType="h" refFor="ch" refForName="bgRect" op="equ"/>
              <dgm:constr type="t" for="ch" forName="childNode"/>
              <dgm:constr type="l" for="ch" forName="childNode" refType="r" refFor="ch" refForName="parentNode"/>
            </dgm:constrLst>
          </dgm:if>
          <dgm:else name="Name7">
            <dgm:constrLst>
              <dgm:constr type="h" refType="w" op="lte" fact="1.2"/>
              <dgm:constr type="w" for="ch" forName="bgRect" refType="w"/>
              <dgm:constr type="h" for="ch" forName="bgRect" refType="h"/>
              <dgm:constr type="t" for="ch" forName="bgRect"/>
              <dgm:constr type="r" for="ch" forName="bgRect" refType="w"/>
              <dgm:constr type="w" for="ch" forName="parentNode" refType="w" refFor="ch" refForName="bgRect" fact="0.2"/>
              <dgm:constr type="h" for="ch" forName="parentNode" refType="h" fact="0.82"/>
              <dgm:constr type="t" for="ch" forName="parentNode"/>
              <dgm:constr type="r" for="ch" forName="parentNode" refType="w"/>
              <dgm:constr type="h" for="ch" forName="childNode" refType="h" refFor="ch" refForName="bgRect"/>
              <dgm:constr type="t" for="ch" forName="childNode"/>
              <dgm:constr type="r" for="ch" forName="childNode" refType="l" refFor="ch" refForName="parentNode"/>
              <dgm:constr type="l" for="ch" forName="childNode" refType="w" refFor="ch" refForName="bgRect" fact="0.055"/>
            </dgm:constrLst>
          </dgm:else>
        </dgm:choose>
        <dgm:ruleLst>
          <dgm:rule type="w" for="ch" forName="childNode" val="NaN" fact="NaN" max="30"/>
        </dgm:ruleLst>
        <dgm:layoutNode name="bgRect" styleLbl="node1">
          <dgm:alg type="sp"/>
          <dgm:shape xmlns:r="http://schemas.openxmlformats.org/officeDocument/2006/relationships" type="roundRect" r:blip="" zOrderOff="-1">
            <dgm:adjLst>
              <dgm:adj idx="1" val="0.05"/>
            </dgm:adjLst>
          </dgm:shape>
          <dgm:presOf axis="self"/>
          <dgm:constrLst/>
          <dgm:ruleLst/>
        </dgm:layoutNode>
        <dgm:layoutNode name="parentNode" styleLbl="node1">
          <dgm:varLst>
            <dgm:chMax val="0"/>
            <dgm:bulletEnabled val="1"/>
          </dgm:varLst>
          <dgm:presOf axis="self"/>
          <dgm:choose name="Name8">
            <dgm:if name="Name9" func="var" arg="dir" op="equ" val="norm">
              <dgm:alg type="tx">
                <dgm:param type="autoTxRot" val="grav"/>
                <dgm:param type="txAnchorVert" val="t"/>
                <dgm:param type="parTxLTRAlign" val="r"/>
                <dgm:param type="parTxRTLAlign" val="r"/>
              </dgm:alg>
              <dgm:shape xmlns:r="http://schemas.openxmlformats.org/officeDocument/2006/relationships" rot="270" type="rect" r:blip="" hideGeom="1">
                <dgm:adjLst/>
              </dgm:shape>
              <dgm:constrLst>
                <dgm:constr type="primFontSz" val="65"/>
                <dgm:constr type="lMarg"/>
                <dgm:constr type="rMarg" refType="primFontSz" fact="0.35"/>
                <dgm:constr type="tMarg" refType="primFontSz" fact="0.27"/>
                <dgm:constr type="bMarg"/>
              </dgm:constrLst>
            </dgm:if>
            <dgm:else name="Name10">
              <dgm:alg type="tx">
                <dgm:param type="autoTxRot" val="grav"/>
                <dgm:param type="txAnchorVert" val="t"/>
                <dgm:param type="parTxLTRAlign" val="l"/>
                <dgm:param type="parTxRTLAlign" val="l"/>
              </dgm:alg>
              <dgm:shape xmlns:r="http://schemas.openxmlformats.org/officeDocument/2006/relationships" rot="90" type="rect" r:blip="" hideGeom="1">
                <dgm:adjLst/>
              </dgm:shape>
              <dgm:constrLst>
                <dgm:constr type="primFontSz" val="65"/>
                <dgm:constr type="lMarg" refType="primFontSz" fact="0.35"/>
                <dgm:constr type="rMarg"/>
                <dgm:constr type="tMarg" refType="primFontSz" fact="0.27"/>
                <dgm:constr type="bMarg"/>
              </dgm:constrLst>
            </dgm:else>
          </dgm:choose>
          <dgm:ruleLst>
            <dgm:rule type="primFontSz" val="5" fact="NaN" max="NaN"/>
          </dgm:ruleLst>
        </dgm:layoutNode>
        <dgm:choose name="Name11">
          <dgm:if name="Name12" axis="ch" ptType="node" func="cnt" op="gte" val="1">
            <dgm:layoutNode name="childNode" styleLbl="node1" moveWith="bgRect">
              <dgm:varLst>
                <dgm:bulletEnabled val="1"/>
              </dgm:varLst>
              <dgm:alg type="tx">
                <dgm:param type="parTxLTRAlign" val="l"/>
                <dgm:param type="parTxRTLAlign" val="r"/>
                <dgm:param type="txAnchorVert" val="t"/>
              </dgm:alg>
              <dgm:shape xmlns:r="http://schemas.openxmlformats.org/officeDocument/2006/relationships" type="rect" r:blip="" hideGeom="1">
                <dgm:adjLst/>
              </dgm:shape>
              <dgm:presOf axis="des" ptType="node"/>
              <dgm:constrLst>
                <dgm:constr type="primFontSz" val="65"/>
                <dgm:constr type="lMarg"/>
                <dgm:constr type="bMarg"/>
                <dgm:constr type="tMarg" refType="primFontSz" fact="0.27"/>
                <dgm:constr type="rMarg"/>
              </dgm:constrLst>
              <dgm:ruleLst>
                <dgm:rule type="prim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h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vProcSp" moveWith="bgRec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vSp1" refType="w"/>
            <dgm:constr type="w" for="ch" forName="simulatedConn" refType="w"/>
            <dgm:constr type="w" for="ch" forName="vSp2" refType="w"/>
          </dgm:constrLst>
          <dgm:ruleLst/>
          <dgm:layoutNode name="vSp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simulatedConn" styleLbl="solidFgAcc1">
            <dgm:alg type="sp"/>
            <dgm:choose name="Name15">
              <dgm:if name="Name16" func="var" arg="dir" op="equ" val="norm">
                <dgm:shape xmlns:r="http://schemas.openxmlformats.org/officeDocument/2006/relationships" rot="90" type="flowChartExtract" r:blip="">
                  <dgm:adjLst/>
                </dgm:shape>
              </dgm:if>
              <dgm:else name="Name17">
                <dgm:shape xmlns:r="http://schemas.openxmlformats.org/officeDocument/2006/relationships" rot="-90" type="flowChartExtract" r:blip="">
                  <dgm:adjLst/>
                </dgm:shape>
              </dgm:else>
            </dgm:choose>
            <dgm:presOf/>
            <dgm:constrLst/>
            <dgm:ruleLst/>
          </dgm:layoutNode>
          <dgm:layoutNode name="vSp2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AB3F6E-74DB-E344-B580-2BD4FB5F30DC}" type="datetimeFigureOut">
              <a:rPr lang="en-US" smtClean="0"/>
              <a:t>2/2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BDC68F-B0F2-5143-BC9C-0EF777DBB8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91063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r>
              <a:rPr lang="en-GB" dirty="0"/>
              <a:t>The pathway to a zero emission fleet involves many different stakeholders. </a:t>
            </a:r>
          </a:p>
          <a:p>
            <a:endParaRPr lang="en-GB" dirty="0"/>
          </a:p>
          <a:p>
            <a:r>
              <a:rPr lang="en-GB" dirty="0"/>
              <a:t>By acting as the conduit between these we focus on De-risking and providing the most cost effect transition process for you to introduce FCEV and BEV into your fleet.</a:t>
            </a:r>
          </a:p>
          <a:p>
            <a:endParaRPr lang="en-GB" dirty="0"/>
          </a:p>
          <a:p>
            <a:pPr marL="0" marR="0" lvl="0" indent="0" algn="l" defTabSz="4159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FUZE through a collaborative approach with the various stakeholders within these sectors will provide you with a single monthly payment.</a:t>
            </a:r>
          </a:p>
          <a:p>
            <a:pPr marL="0" marR="0" lvl="0" indent="0" algn="l" defTabSz="4159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  <a:p>
            <a:r>
              <a:rPr lang="en-GB" dirty="0"/>
              <a:t>How does this actually work;</a:t>
            </a:r>
          </a:p>
          <a:p>
            <a:endParaRPr lang="en-GB" dirty="0"/>
          </a:p>
          <a:p>
            <a:r>
              <a:rPr lang="en-GB" dirty="0"/>
              <a:t>We work with you to establish cost from;</a:t>
            </a:r>
          </a:p>
          <a:p>
            <a:endParaRPr lang="en-GB" dirty="0"/>
          </a:p>
          <a:p>
            <a:r>
              <a:rPr lang="en-GB" dirty="0"/>
              <a:t>Infrastructure Providers</a:t>
            </a:r>
          </a:p>
          <a:p>
            <a:r>
              <a:rPr lang="en-GB" dirty="0"/>
              <a:t>	-	Hydrogen &amp; Battery</a:t>
            </a:r>
          </a:p>
          <a:p>
            <a:r>
              <a:rPr lang="en-GB" dirty="0"/>
              <a:t>	- 	Alternatively we can also liaise and partner with the battery provider of your choice</a:t>
            </a:r>
          </a:p>
          <a:p>
            <a:endParaRPr lang="en-GB" dirty="0"/>
          </a:p>
          <a:p>
            <a:r>
              <a:rPr lang="en-GB" dirty="0"/>
              <a:t>Route Planning</a:t>
            </a:r>
          </a:p>
          <a:p>
            <a:r>
              <a:rPr lang="en-GB" dirty="0"/>
              <a:t>	-	Applying the results from the route analysis provided by </a:t>
            </a:r>
            <a:r>
              <a:rPr lang="en-GB" dirty="0" err="1"/>
              <a:t>Wrightbus</a:t>
            </a:r>
            <a:r>
              <a:rPr lang="en-GB" dirty="0"/>
              <a:t> we will be able to identify the optimum fleet profile and warranty requirements</a:t>
            </a:r>
          </a:p>
          <a:p>
            <a:endParaRPr lang="en-GB" dirty="0"/>
          </a:p>
          <a:p>
            <a:r>
              <a:rPr lang="en-GB" dirty="0"/>
              <a:t>This provide the optimum number of buses require</a:t>
            </a:r>
          </a:p>
          <a:p>
            <a:r>
              <a:rPr lang="en-GB" dirty="0"/>
              <a:t>	-	Wrightbus for the base vehicle price</a:t>
            </a:r>
          </a:p>
          <a:p>
            <a:r>
              <a:rPr lang="en-GB" dirty="0"/>
              <a:t>	-	Extended warranties</a:t>
            </a:r>
          </a:p>
          <a:p>
            <a:r>
              <a:rPr lang="en-GB" dirty="0"/>
              <a:t>			- BEV 15 Years (I am currently working on extending this further)</a:t>
            </a:r>
          </a:p>
          <a:p>
            <a:r>
              <a:rPr lang="en-GB" dirty="0"/>
              <a:t>			- FCEV 10 Years or Cost or regen and replacement batteries</a:t>
            </a:r>
          </a:p>
          <a:p>
            <a:endParaRPr lang="en-GB" dirty="0"/>
          </a:p>
          <a:p>
            <a:r>
              <a:rPr lang="en-GB" dirty="0"/>
              <a:t>In addition we can also provide;</a:t>
            </a:r>
          </a:p>
          <a:p>
            <a:endParaRPr lang="en-GB" dirty="0"/>
          </a:p>
          <a:p>
            <a:r>
              <a:rPr lang="en-GB" dirty="0"/>
              <a:t>Maintenance</a:t>
            </a:r>
          </a:p>
          <a:p>
            <a:r>
              <a:rPr lang="en-GB" dirty="0"/>
              <a:t>	-	Using the data provided by route planning a maintenance cost is provided by Wrights.</a:t>
            </a:r>
          </a:p>
          <a:p>
            <a:r>
              <a:rPr lang="en-GB" dirty="0"/>
              <a:t>	-	Available as Part Assurance only or Parts and Labour.  This can be for part of or the total length of the lease agreement.</a:t>
            </a:r>
          </a:p>
          <a:p>
            <a:endParaRPr lang="en-GB" dirty="0"/>
          </a:p>
          <a:p>
            <a:r>
              <a:rPr lang="en-GB" dirty="0"/>
              <a:t>In addition we can at this stage provide a TCO calculation can be provided which will include;</a:t>
            </a:r>
          </a:p>
          <a:p>
            <a:endParaRPr lang="en-GB" dirty="0"/>
          </a:p>
          <a:p>
            <a:r>
              <a:rPr lang="en-GB" dirty="0"/>
              <a:t>Fuel/Power (having established through the route planning Battery 3 or 4 string or Hydrogen)</a:t>
            </a:r>
          </a:p>
          <a:p>
            <a:r>
              <a:rPr lang="en-GB" dirty="0"/>
              <a:t>	-	We apply pence per km costs for either Hydrogen or Electric</a:t>
            </a:r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Taking all or cherry picking the parts that you require (</a:t>
            </a:r>
            <a:r>
              <a:rPr lang="en-GB" dirty="0" err="1"/>
              <a:t>e.g</a:t>
            </a:r>
            <a:r>
              <a:rPr lang="en-GB" dirty="0"/>
              <a:t> you may already have the infrastructure) we are then able to provide you with a single monthly cost.</a:t>
            </a:r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Terms are available from 7 – 21 year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FA3106-F5BB-4DC1-87DA-9BDB6BD06374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9994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6ED584-1F96-8348-B0DB-32E2423E1E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62C8538-890B-D04B-B6B7-33C2083B4DF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E41CEF-19A4-2B40-B401-DB81CFF036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3CC920-684A-AB4A-A28A-08CE07A66D6F}" type="datetime1">
              <a:rPr lang="en-GB" smtClean="0"/>
              <a:t>02/0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7BDC0B-D9E4-3B49-AE8B-9F851CDA35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www.wrightbus.co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BBAB17-A94C-AD4D-AEDC-44DDD4246E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3983F-CF44-6144-9232-74BD3EAC50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4530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F7394A-18E6-5B44-A401-F60CEF1CF3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7F18E33-DE76-834B-9DD5-90B34A1956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06AA22-1CF5-1744-885D-A749505EE8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678AF8-DA70-4045-9CC8-83AA4A025A93}" type="datetime1">
              <a:rPr lang="en-GB" smtClean="0"/>
              <a:t>02/0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5A6248-B4DB-6E48-92F4-93820C5304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www.wrightbus.co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77319D-329A-524B-86FC-218083B7DF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3983F-CF44-6144-9232-74BD3EAC50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2807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35410CB-A051-5A48-AF28-895A5962549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028578E-D1B8-4849-B19E-1013E2246AF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46D8803-CBD1-CF48-BAF2-5444C13B26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281D65-D181-184C-83B3-9D0A0FE85D4B}" type="datetime1">
              <a:rPr lang="en-GB" smtClean="0"/>
              <a:t>02/0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386B08-6494-C243-AC53-63CA81D445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www.wrightbus.co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ACD603-F29B-EF4D-AADF-E33E0532B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3983F-CF44-6144-9232-74BD3EAC50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61916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37C2D7-CDDF-9F46-90ED-F2ACDC5AFA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5169A9-44F4-AC42-8B37-0E0D3E18781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7D3F177-1A43-4945-9F00-1EE38D6D04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6DA70E-C859-9F48-B1BB-675D1703C20B}" type="datetime1">
              <a:rPr lang="en-GB" smtClean="0"/>
              <a:t>02/0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A36961-FE38-5D42-B72F-0EB86531FE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www.wrightbus.co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5E32E1-EFED-E842-B055-807F33E238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3983F-CF44-6144-9232-74BD3EAC50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06483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6FB0D7-7D53-314C-8E03-5AA9E2F14A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68F3876-98D6-0D4A-876E-48596E1678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C6375E-9785-824E-B5AA-CCB4F10AD5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6187F7-55DD-354C-89AF-37BFA1850252}" type="datetime1">
              <a:rPr lang="en-GB" smtClean="0"/>
              <a:t>02/0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C33CC1-7B24-1842-A198-747543B910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www.wrightbus.co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85E038-21F1-834B-A500-5B981382ED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3983F-CF44-6144-9232-74BD3EAC50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22698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A48CDD-10C3-6945-9EC4-0BDFDB1F6B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8FCCF0-C0D0-C146-BE94-0B165432311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86F1B1-CAA5-284A-9E7F-B554F84E0D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B1F9B4-7CB4-F345-9755-90BB556610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BBBFA2-F487-D248-87A9-0DB239EA021B}" type="datetime1">
              <a:rPr lang="en-GB" smtClean="0"/>
              <a:t>02/02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4D0D738-D7F4-5345-BD16-F38CC5912F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www.wrightbus.com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97747B5-3762-4346-A167-6B58B31045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3983F-CF44-6144-9232-74BD3EAC50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1233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56C7D4-DEA0-7348-8FA3-D70B37F7CB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CF0094-2D5C-3843-A897-52DE44AB7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C22386C-3A1F-B743-80F6-83E45A3705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182E81D-AC78-444E-8B55-B17FEA54C9A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48A5A94-04C5-4E4A-AA4C-D12D79749ED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04B50DF-8060-834B-85E8-4A35113B10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7FB595-583A-2848-90E9-2395EF3A973D}" type="datetime1">
              <a:rPr lang="en-GB" smtClean="0"/>
              <a:t>02/02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47B1740-F71E-B841-AD9C-1FA71DAE73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www.wrightbus.com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8A7D2D5-62F7-5346-A735-B396CAE90E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3983F-CF44-6144-9232-74BD3EAC50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86312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E1DB67-CC58-3A48-B0AB-8F8FE5CC3D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F4163F1-E35A-A54D-8989-4B8EFDA2C4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989357-DCE8-5C48-ADC0-ED445A12496F}" type="datetime1">
              <a:rPr lang="en-GB" smtClean="0"/>
              <a:t>02/02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EFA3681-FD39-0D43-A5FA-DD1458C65C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www.wrightbus.com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FA3CD60-F53A-DE45-84F6-020B4EEAD9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3983F-CF44-6144-9232-74BD3EAC50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43717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DECA558-6372-724E-B392-047FB53A71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C7258D-6A91-A14A-9CD5-5237710CABF1}" type="datetime1">
              <a:rPr lang="en-GB" smtClean="0"/>
              <a:t>02/02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311005D-5FE4-CA4A-8195-28A926658A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www.wrightbus.co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131059-D084-5C4D-A4F6-EF5F589549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3983F-CF44-6144-9232-74BD3EAC50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85001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9F550A-9600-744F-A521-6B305D9F58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FE4042-0562-2446-85C3-DA32205A81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3F8B1E-42F0-E14A-A053-0DEAEA7A394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032617F-9D26-354C-B821-0DBD830AEF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CE609D-BF6C-5D40-9679-C891EBDF43CE}" type="datetime1">
              <a:rPr lang="en-GB" smtClean="0"/>
              <a:t>02/02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2FADAFD-914D-0D44-B6FE-2082AD48B7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www.wrightbus.com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98F8272-D0F9-F343-9F9B-2658F936CC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3983F-CF44-6144-9232-74BD3EAC50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71381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4504E4-BFFC-EE43-9D81-7395F93CD6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3F28857-FA8E-D944-A9C5-D6C64B0489D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69A4A45-FCC0-5E4A-94A1-331CA6ECDC5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C442179-4F93-CE46-887C-129CFE0E75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EB507B-7E59-084A-8576-D4639CCF5AF3}" type="datetime1">
              <a:rPr lang="en-GB" smtClean="0"/>
              <a:t>02/02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12C734F-D38B-184B-B8A8-559E319654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www.wrightbus.com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042F280-1B95-9B4A-AE04-C5BB93D9B9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3983F-CF44-6144-9232-74BD3EAC50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99544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88D6AF6-0BA1-4F45-B177-F82E5C925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188A4F-FB26-9B49-BC02-4043B0AA4FB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BCF005-4A09-2048-8472-5A5AEAA68EC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076E5E-5D88-7540-B4D0-CD936F21337E}" type="datetime1">
              <a:rPr lang="en-GB" smtClean="0"/>
              <a:t>02/0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126A6C-A763-3D41-8D2C-4289D4C464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www.wrightbus.co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357A95-AA89-1C4D-9584-8EE0589B6A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63983F-CF44-6144-9232-74BD3EAC50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69483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22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13" Type="http://schemas.openxmlformats.org/officeDocument/2006/relationships/image" Target="../media/image30.png"/><Relationship Id="rId18" Type="http://schemas.openxmlformats.org/officeDocument/2006/relationships/image" Target="../media/image35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4.png"/><Relationship Id="rId12" Type="http://schemas.openxmlformats.org/officeDocument/2006/relationships/image" Target="../media/image29.svg"/><Relationship Id="rId17" Type="http://schemas.openxmlformats.org/officeDocument/2006/relationships/image" Target="../media/image34.png"/><Relationship Id="rId2" Type="http://schemas.openxmlformats.org/officeDocument/2006/relationships/tags" Target="../tags/tag1.xml"/><Relationship Id="rId16" Type="http://schemas.openxmlformats.org/officeDocument/2006/relationships/image" Target="../media/image33.svg"/><Relationship Id="rId20" Type="http://schemas.openxmlformats.org/officeDocument/2006/relationships/image" Target="../media/image37.svg"/><Relationship Id="rId1" Type="http://schemas.openxmlformats.org/officeDocument/2006/relationships/vmlDrawing" Target="../drawings/vmlDrawing1.vml"/><Relationship Id="rId6" Type="http://schemas.openxmlformats.org/officeDocument/2006/relationships/image" Target="../media/image23.emf"/><Relationship Id="rId11" Type="http://schemas.openxmlformats.org/officeDocument/2006/relationships/image" Target="../media/image28.png"/><Relationship Id="rId5" Type="http://schemas.openxmlformats.org/officeDocument/2006/relationships/oleObject" Target="../embeddings/oleObject1.bin"/><Relationship Id="rId15" Type="http://schemas.openxmlformats.org/officeDocument/2006/relationships/image" Target="../media/image32.png"/><Relationship Id="rId10" Type="http://schemas.openxmlformats.org/officeDocument/2006/relationships/image" Target="../media/image27.svg"/><Relationship Id="rId19" Type="http://schemas.openxmlformats.org/officeDocument/2006/relationships/image" Target="../media/image36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26.png"/><Relationship Id="rId14" Type="http://schemas.openxmlformats.org/officeDocument/2006/relationships/image" Target="../media/image31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5.png"/><Relationship Id="rId7" Type="http://schemas.openxmlformats.org/officeDocument/2006/relationships/image" Target="../media/image42.pn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Relationship Id="rId9" Type="http://schemas.openxmlformats.org/officeDocument/2006/relationships/image" Target="../media/image4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5" Type="http://schemas.openxmlformats.org/officeDocument/2006/relationships/image" Target="../media/image2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.pn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jpg"/><Relationship Id="rId4" Type="http://schemas.openxmlformats.org/officeDocument/2006/relationships/image" Target="../media/image11.jp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image" Target="../media/image5.png"/><Relationship Id="rId7" Type="http://schemas.openxmlformats.org/officeDocument/2006/relationships/diagramQuickStyle" Target="../diagrams/quickStyle1.xml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10" Type="http://schemas.openxmlformats.org/officeDocument/2006/relationships/image" Target="../media/image17.png"/><Relationship Id="rId4" Type="http://schemas.openxmlformats.org/officeDocument/2006/relationships/image" Target="../media/image2.png"/><Relationship Id="rId9" Type="http://schemas.microsoft.com/office/2007/relationships/diagramDrawing" Target="../diagrams/drawing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ouble decker buses on the road&#10;&#10;Description automatically generated with medium confidence">
            <a:extLst>
              <a:ext uri="{FF2B5EF4-FFF2-40B4-BE49-F238E27FC236}">
                <a16:creationId xmlns:a16="http://schemas.microsoft.com/office/drawing/2014/main" id="{1205050A-9FA7-E243-9B79-6E77F3FDC07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402" b="8495"/>
          <a:stretch/>
        </p:blipFill>
        <p:spPr>
          <a:xfrm>
            <a:off x="-98474" y="-98474"/>
            <a:ext cx="12421772" cy="697054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2216ED7-0A72-D441-9C79-52BA3C590FFA}"/>
              </a:ext>
            </a:extLst>
          </p:cNvPr>
          <p:cNvSpPr txBox="1"/>
          <p:nvPr/>
        </p:nvSpPr>
        <p:spPr>
          <a:xfrm>
            <a:off x="509665" y="1484026"/>
            <a:ext cx="758502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 err="1">
                <a:solidFill>
                  <a:schemeClr val="bg1"/>
                </a:solidFill>
                <a:latin typeface="Monument Extended" pitchFamily="2" charset="77"/>
                <a:cs typeface="Arial" panose="020B0604020202020204" pitchFamily="34" charset="0"/>
              </a:rPr>
              <a:t>Wrightbus</a:t>
            </a:r>
            <a:endParaRPr lang="en-US" sz="4400" b="1" dirty="0">
              <a:solidFill>
                <a:schemeClr val="bg1"/>
              </a:solidFill>
              <a:latin typeface="Monument Extended" pitchFamily="2" charset="77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F3158CA-2F01-D241-98C6-47498FF34CE6}"/>
              </a:ext>
            </a:extLst>
          </p:cNvPr>
          <p:cNvSpPr txBox="1"/>
          <p:nvPr/>
        </p:nvSpPr>
        <p:spPr>
          <a:xfrm>
            <a:off x="509665" y="2499689"/>
            <a:ext cx="912270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ivering a Greener Future</a:t>
            </a:r>
          </a:p>
          <a:p>
            <a:endParaRPr lang="en-US" sz="3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m Greenshields</a:t>
            </a:r>
          </a:p>
          <a:p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 of Business Development</a:t>
            </a:r>
          </a:p>
        </p:txBody>
      </p:sp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43EDC31A-C3AD-7D46-8DDE-23B1F5D793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27890" y="281877"/>
            <a:ext cx="2501379" cy="897734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CCD685E-CCD1-0342-9577-EDFDB15046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www.wrightbus.co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069852-74D5-C24D-9171-9C4EA6E745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3983F-CF44-6144-9232-74BD3EAC5094}" type="slidenum">
              <a:rPr lang="en-US" smtClean="0">
                <a:solidFill>
                  <a:schemeClr val="bg1"/>
                </a:solidFill>
              </a:rPr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47211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6346DB-9D1D-4385-BBDF-BB5CFFF3BE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CFDE5E7A-46A3-4CD9-8459-860322E8D22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67331" t="26807" r="6582" b="46454"/>
          <a:stretch/>
        </p:blipFill>
        <p:spPr>
          <a:xfrm>
            <a:off x="40005" y="582612"/>
            <a:ext cx="12111990" cy="5387975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475679-3089-4B9A-B1A8-972A333379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www.wrightbus.com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6494B9F-96F1-41FF-86A5-9D8F848F34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3983F-CF44-6144-9232-74BD3EAC5094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45011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" descr="page30image24161344">
            <a:extLst>
              <a:ext uri="{FF2B5EF4-FFF2-40B4-BE49-F238E27FC236}">
                <a16:creationId xmlns:a16="http://schemas.microsoft.com/office/drawing/2014/main" id="{6D34EE25-EDFE-7A42-9809-BDFA8599A3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4068" y="2564397"/>
            <a:ext cx="12220136" cy="712351"/>
          </a:xfrm>
          <a:prstGeom prst="rect">
            <a:avLst/>
          </a:prstGeom>
          <a:solidFill>
            <a:srgbClr val="2FD03D"/>
          </a:solidFill>
        </p:spPr>
      </p:pic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9FB96F56-B60B-AD45-9104-DE886F2A36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16941" y="292008"/>
            <a:ext cx="2501379" cy="89773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2A3A255-FBE0-6E4F-A658-4ED6C702F4AF}"/>
              </a:ext>
            </a:extLst>
          </p:cNvPr>
          <p:cNvSpPr txBox="1"/>
          <p:nvPr/>
        </p:nvSpPr>
        <p:spPr>
          <a:xfrm>
            <a:off x="619760" y="250428"/>
            <a:ext cx="51964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50" name="Picture 49" descr="A picture containing text, sign, close&#10;&#10;Description automatically generated">
            <a:extLst>
              <a:ext uri="{FF2B5EF4-FFF2-40B4-BE49-F238E27FC236}">
                <a16:creationId xmlns:a16="http://schemas.microsoft.com/office/drawing/2014/main" id="{BE6A3BC9-F8F4-DC48-A231-6939C3DBC91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3999" y="283602"/>
            <a:ext cx="2658891" cy="880485"/>
          </a:xfrm>
          <a:prstGeom prst="rect">
            <a:avLst/>
          </a:prstGeom>
        </p:spPr>
      </p:pic>
      <p:sp>
        <p:nvSpPr>
          <p:cNvPr id="56" name="TextBox 55">
            <a:extLst>
              <a:ext uri="{FF2B5EF4-FFF2-40B4-BE49-F238E27FC236}">
                <a16:creationId xmlns:a16="http://schemas.microsoft.com/office/drawing/2014/main" id="{EC7375CF-631D-0B42-A242-3F941EE8AFEF}"/>
              </a:ext>
            </a:extLst>
          </p:cNvPr>
          <p:cNvSpPr txBox="1"/>
          <p:nvPr/>
        </p:nvSpPr>
        <p:spPr>
          <a:xfrm>
            <a:off x="174820" y="2607506"/>
            <a:ext cx="3681108" cy="461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lematics relationship </a:t>
            </a:r>
          </a:p>
          <a:p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JCB</a:t>
            </a:r>
          </a:p>
          <a:p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Courier New" panose="02070309020205020404" pitchFamily="49" charset="0"/>
              <a:buChar char="o"/>
            </a:pP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Ability to work closely with JCB, one of the top 3 manufacturers in the construction industry globally.</a:t>
            </a:r>
          </a:p>
          <a:p>
            <a:pPr marL="171450" indent="-171450">
              <a:buFont typeface="Courier New" panose="02070309020205020404" pitchFamily="49" charset="0"/>
              <a:buChar char="o"/>
            </a:pP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JCB have extensive experience &gt;15 years in running full telematics services across large fleets</a:t>
            </a:r>
          </a:p>
          <a:p>
            <a:pPr marL="171450" indent="-171450">
              <a:buFont typeface="Courier New" panose="02070309020205020404" pitchFamily="49" charset="0"/>
              <a:buChar char="o"/>
            </a:pPr>
            <a:r>
              <a:rPr lang="en-GB" sz="1400" dirty="0" err="1">
                <a:latin typeface="Arial" panose="020B0604020202020204" pitchFamily="34" charset="0"/>
                <a:cs typeface="Arial" panose="020B0604020202020204" pitchFamily="34" charset="0"/>
              </a:rPr>
              <a:t>Wrightbus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are actively working with JCB to leverage existing knowledge and expertise to quickly scale their product offering</a:t>
            </a:r>
          </a:p>
          <a:p>
            <a:pPr marL="171450" indent="-171450">
              <a:buFont typeface="Courier New" panose="02070309020205020404" pitchFamily="49" charset="0"/>
              <a:buChar char="o"/>
            </a:pP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Telematics will be key USP vs. competition in delivering the forecast plan</a:t>
            </a:r>
          </a:p>
          <a:p>
            <a:pPr marL="171450" indent="-171450">
              <a:buFont typeface="Courier New" panose="02070309020205020404" pitchFamily="49" charset="0"/>
              <a:buChar char="o"/>
            </a:pP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Further opportunities to collaborate are available with engineering and process best practices</a:t>
            </a:r>
          </a:p>
          <a:p>
            <a:pPr marL="171450" indent="-171450">
              <a:buFont typeface="Courier New" panose="02070309020205020404" pitchFamily="49" charset="0"/>
              <a:buChar char="o"/>
            </a:pPr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200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B4530D81-BE7E-3D49-998E-6080766310E1}"/>
              </a:ext>
            </a:extLst>
          </p:cNvPr>
          <p:cNvSpPr txBox="1"/>
          <p:nvPr/>
        </p:nvSpPr>
        <p:spPr>
          <a:xfrm>
            <a:off x="4113889" y="2055446"/>
            <a:ext cx="3681105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600" dirty="0">
                <a:solidFill>
                  <a:srgbClr val="2FD03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GB" sz="3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yze</a:t>
            </a: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ydrogen &amp; full infrastructure offering</a:t>
            </a:r>
          </a:p>
          <a:p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Courier New" panose="02070309020205020404" pitchFamily="49" charset="0"/>
              <a:buChar char="o"/>
            </a:pP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Uniquely positioned to collaborate with </a:t>
            </a:r>
            <a:r>
              <a:rPr lang="en-GB" sz="1400" dirty="0" err="1">
                <a:latin typeface="Arial" panose="020B0604020202020204" pitchFamily="34" charset="0"/>
                <a:cs typeface="Arial" panose="020B0604020202020204" pitchFamily="34" charset="0"/>
              </a:rPr>
              <a:t>Ryze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, a leading green hydrogen production &amp; distribution company</a:t>
            </a:r>
          </a:p>
          <a:p>
            <a:pPr marL="171450" indent="-171450">
              <a:buFont typeface="Courier New" panose="02070309020205020404" pitchFamily="49" charset="0"/>
              <a:buChar char="o"/>
            </a:pP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Ability to offer a one stop shop solution for both bus manufacturing and supply chain for green hydrogen</a:t>
            </a:r>
          </a:p>
          <a:p>
            <a:pPr marL="171450" indent="-171450">
              <a:buFont typeface="Courier New" panose="02070309020205020404" pitchFamily="49" charset="0"/>
              <a:buChar char="o"/>
            </a:pPr>
            <a:r>
              <a:rPr lang="en-GB" sz="1400" dirty="0" err="1">
                <a:latin typeface="Arial" panose="020B0604020202020204" pitchFamily="34" charset="0"/>
                <a:cs typeface="Arial" panose="020B0604020202020204" pitchFamily="34" charset="0"/>
              </a:rPr>
              <a:t>Ryze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currently supporting ZEBRA funding bids in collaboration with </a:t>
            </a:r>
            <a:r>
              <a:rPr lang="en-GB" sz="1400" dirty="0" err="1">
                <a:latin typeface="Arial" panose="020B0604020202020204" pitchFamily="34" charset="0"/>
                <a:cs typeface="Arial" panose="020B0604020202020204" pitchFamily="34" charset="0"/>
              </a:rPr>
              <a:t>Wrightbus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, with local authorities to offer a full Hydrogen solution to bus operators</a:t>
            </a:r>
          </a:p>
          <a:p>
            <a:pPr marL="171450" indent="-171450">
              <a:buFont typeface="Courier New" panose="02070309020205020404" pitchFamily="49" charset="0"/>
              <a:buChar char="o"/>
            </a:pP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This will unlock further opportunities in aftersales, providing full GB Kite </a:t>
            </a:r>
            <a:r>
              <a:rPr lang="en-GB" sz="1400" dirty="0" err="1">
                <a:latin typeface="Arial" panose="020B0604020202020204" pitchFamily="34" charset="0"/>
                <a:cs typeface="Arial" panose="020B0604020202020204" pitchFamily="34" charset="0"/>
              </a:rPr>
              <a:t>Hydroliner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FCEV product services for buses and supply chain</a:t>
            </a:r>
          </a:p>
          <a:p>
            <a:endParaRPr lang="en-US" sz="1200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3966AC5F-82DE-4C4D-A70E-DFE917A4EF35}"/>
              </a:ext>
            </a:extLst>
          </p:cNvPr>
          <p:cNvSpPr txBox="1"/>
          <p:nvPr/>
        </p:nvSpPr>
        <p:spPr>
          <a:xfrm>
            <a:off x="3685735" y="-49236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87BCC5D5-D131-7347-9CE6-2A6B94B3F0EE}"/>
              </a:ext>
            </a:extLst>
          </p:cNvPr>
          <p:cNvCxnSpPr/>
          <p:nvPr/>
        </p:nvCxnSpPr>
        <p:spPr>
          <a:xfrm>
            <a:off x="9555911" y="-151675"/>
            <a:ext cx="277234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A716DE8C-1CFF-FC46-A619-94C0D6198B40}"/>
              </a:ext>
            </a:extLst>
          </p:cNvPr>
          <p:cNvSpPr txBox="1"/>
          <p:nvPr/>
        </p:nvSpPr>
        <p:spPr>
          <a:xfrm>
            <a:off x="8048726" y="2055446"/>
            <a:ext cx="3801808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just"/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ng term capital in the clean energy sector</a:t>
            </a:r>
          </a:p>
          <a:p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chemeClr val="tx1"/>
              </a:buClr>
              <a:buFont typeface="Courier New" panose="02070309020205020404" pitchFamily="49" charset="0"/>
              <a:buChar char="o"/>
            </a:pP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Bamford family committed to carbon reduction across all of their business interests</a:t>
            </a:r>
          </a:p>
          <a:p>
            <a:pPr marL="171450" indent="-171450">
              <a:buClr>
                <a:schemeClr val="tx1"/>
              </a:buClr>
              <a:buFont typeface="Courier New" panose="02070309020205020404" pitchFamily="49" charset="0"/>
              <a:buChar char="o"/>
            </a:pP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Leading the way in global hydrogen market across JCB, </a:t>
            </a:r>
            <a:r>
              <a:rPr lang="en-GB" sz="1400" dirty="0" err="1">
                <a:latin typeface="Arial" panose="020B0604020202020204" pitchFamily="34" charset="0"/>
                <a:cs typeface="Arial" panose="020B0604020202020204" pitchFamily="34" charset="0"/>
              </a:rPr>
              <a:t>Wrightbus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GB" sz="1400" dirty="0" err="1">
                <a:latin typeface="Arial" panose="020B0604020202020204" pitchFamily="34" charset="0"/>
                <a:cs typeface="Arial" panose="020B0604020202020204" pitchFamily="34" charset="0"/>
              </a:rPr>
              <a:t>Ryze</a:t>
            </a:r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chemeClr val="tx1"/>
              </a:buClr>
              <a:buFont typeface="Courier New" panose="02070309020205020404" pitchFamily="49" charset="0"/>
              <a:buChar char="o"/>
            </a:pP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Long term family investor committed to delivering the business plan</a:t>
            </a:r>
          </a:p>
          <a:p>
            <a:pPr marL="171450" indent="-171450">
              <a:buClr>
                <a:schemeClr val="tx1"/>
              </a:buClr>
              <a:buFont typeface="Courier New" panose="02070309020205020404" pitchFamily="49" charset="0"/>
              <a:buChar char="o"/>
            </a:pP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Supportive of collaboration across their business interests to ensure best practice</a:t>
            </a:r>
          </a:p>
          <a:p>
            <a:pPr marL="171450" indent="-171450">
              <a:buClr>
                <a:schemeClr val="tx1"/>
              </a:buClr>
              <a:buFont typeface="Courier New" panose="02070309020205020404" pitchFamily="49" charset="0"/>
              <a:buChar char="o"/>
            </a:pP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Future potential for </a:t>
            </a:r>
            <a:r>
              <a:rPr lang="en-GB" sz="1400" dirty="0" err="1">
                <a:latin typeface="Arial" panose="020B0604020202020204" pitchFamily="34" charset="0"/>
                <a:cs typeface="Arial" panose="020B0604020202020204" pitchFamily="34" charset="0"/>
              </a:rPr>
              <a:t>Wrightbus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to become a “capital partner” in conjunction with </a:t>
            </a:r>
            <a:r>
              <a:rPr lang="en-GB" sz="1400" dirty="0" err="1">
                <a:latin typeface="Arial" panose="020B0604020202020204" pitchFamily="34" charset="0"/>
                <a:cs typeface="Arial" panose="020B0604020202020204" pitchFamily="34" charset="0"/>
              </a:rPr>
              <a:t>Ryze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and lease new bus units to operators, taking the full asset and supply chain infrastructure off balance sheet</a:t>
            </a:r>
          </a:p>
          <a:p>
            <a:endParaRPr lang="en-US" sz="1200" dirty="0"/>
          </a:p>
        </p:txBody>
      </p:sp>
      <p:pic>
        <p:nvPicPr>
          <p:cNvPr id="3" name="Picture 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156C8936-D749-E649-B60D-771649FCB5C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63742" y="1658648"/>
            <a:ext cx="1154230" cy="450787"/>
          </a:xfrm>
          <a:prstGeom prst="rect">
            <a:avLst/>
          </a:prstGeom>
        </p:spPr>
      </p:pic>
      <p:pic>
        <p:nvPicPr>
          <p:cNvPr id="9" name="Picture 8" descr="A picture containing icon&#10;&#10;Description automatically generated">
            <a:extLst>
              <a:ext uri="{FF2B5EF4-FFF2-40B4-BE49-F238E27FC236}">
                <a16:creationId xmlns:a16="http://schemas.microsoft.com/office/drawing/2014/main" id="{CBC6EB79-0B7A-054A-A625-17ECBBA1CDF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1532" y="1712196"/>
            <a:ext cx="1267811" cy="42260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C859405-EBF4-D641-9E03-868F39E48F74}"/>
              </a:ext>
            </a:extLst>
          </p:cNvPr>
          <p:cNvSpPr txBox="1"/>
          <p:nvPr/>
        </p:nvSpPr>
        <p:spPr>
          <a:xfrm>
            <a:off x="399778" y="1509265"/>
            <a:ext cx="211299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600" dirty="0">
                <a:solidFill>
                  <a:srgbClr val="2FD03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CB</a:t>
            </a:r>
            <a:r>
              <a:rPr lang="en-GB" dirty="0">
                <a:solidFill>
                  <a:srgbClr val="2FD03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F3A2F76-9A86-A045-97AC-061576196347}"/>
              </a:ext>
            </a:extLst>
          </p:cNvPr>
          <p:cNvSpPr txBox="1"/>
          <p:nvPr/>
        </p:nvSpPr>
        <p:spPr>
          <a:xfrm>
            <a:off x="4153929" y="1546933"/>
            <a:ext cx="21317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600" dirty="0" err="1">
                <a:solidFill>
                  <a:srgbClr val="2FD03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yze</a:t>
            </a:r>
            <a:endParaRPr lang="en-US" sz="36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ED5EFA2-790F-5A49-B12B-6FC675B16DBB}"/>
              </a:ext>
            </a:extLst>
          </p:cNvPr>
          <p:cNvSpPr txBox="1"/>
          <p:nvPr/>
        </p:nvSpPr>
        <p:spPr>
          <a:xfrm>
            <a:off x="8002232" y="1560875"/>
            <a:ext cx="21317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600" dirty="0" err="1">
                <a:solidFill>
                  <a:srgbClr val="2FD03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ycap</a:t>
            </a:r>
            <a:endParaRPr lang="en-US" sz="3600" dirty="0"/>
          </a:p>
        </p:txBody>
      </p:sp>
      <p:pic>
        <p:nvPicPr>
          <p:cNvPr id="13" name="Picture 12" descr="A group of trees in a field&#10;&#10;Description automatically generated with low confidence">
            <a:extLst>
              <a:ext uri="{FF2B5EF4-FFF2-40B4-BE49-F238E27FC236}">
                <a16:creationId xmlns:a16="http://schemas.microsoft.com/office/drawing/2014/main" id="{5251283C-434D-8540-8B90-02314E49C57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00497" y="1656694"/>
            <a:ext cx="1399729" cy="702842"/>
          </a:xfrm>
          <a:prstGeom prst="rect">
            <a:avLst/>
          </a:prstGeom>
        </p:spPr>
      </p:pic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908A4D3-B849-8848-952E-ED57B24DBDAC}"/>
              </a:ext>
            </a:extLst>
          </p:cNvPr>
          <p:cNvCxnSpPr>
            <a:cxnSpLocks/>
          </p:cNvCxnSpPr>
          <p:nvPr/>
        </p:nvCxnSpPr>
        <p:spPr>
          <a:xfrm>
            <a:off x="3990400" y="3429000"/>
            <a:ext cx="0" cy="276526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B0B9F32-0346-FD48-824F-F0D405047E21}"/>
              </a:ext>
            </a:extLst>
          </p:cNvPr>
          <p:cNvCxnSpPr>
            <a:cxnSpLocks/>
          </p:cNvCxnSpPr>
          <p:nvPr/>
        </p:nvCxnSpPr>
        <p:spPr>
          <a:xfrm>
            <a:off x="7850757" y="3429000"/>
            <a:ext cx="0" cy="276526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7DFD933-56DD-1644-836C-E9E98C06A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3983F-CF44-6144-9232-74BD3EAC5094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07393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25">
            <a:extLst>
              <a:ext uri="{FF2B5EF4-FFF2-40B4-BE49-F238E27FC236}">
                <a16:creationId xmlns:a16="http://schemas.microsoft.com/office/drawing/2014/main" id="{06DC76F9-8F51-4C66-BD8A-C0A96DFD90B2}"/>
              </a:ext>
            </a:extLst>
          </p:cNvPr>
          <p:cNvSpPr txBox="1"/>
          <p:nvPr/>
        </p:nvSpPr>
        <p:spPr>
          <a:xfrm>
            <a:off x="738882" y="4786538"/>
            <a:ext cx="893905" cy="461665"/>
          </a:xfrm>
          <a:prstGeom prst="rect">
            <a:avLst/>
          </a:prstGeom>
          <a:ln>
            <a:solidFill>
              <a:srgbClr val="2AD03D"/>
            </a:solidFill>
            <a:headEnd type="none" w="med" len="med"/>
            <a:tailEnd type="none" w="med" len="me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GB" sz="24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A3FC761-DAA7-4F86-A594-3C9AE4743D2D}"/>
              </a:ext>
            </a:extLst>
          </p:cNvPr>
          <p:cNvSpPr txBox="1"/>
          <p:nvPr/>
        </p:nvSpPr>
        <p:spPr>
          <a:xfrm>
            <a:off x="738981" y="3606035"/>
            <a:ext cx="893905" cy="461665"/>
          </a:xfrm>
          <a:prstGeom prst="rect">
            <a:avLst/>
          </a:prstGeom>
          <a:ln>
            <a:solidFill>
              <a:srgbClr val="2AD03D"/>
            </a:solidFill>
            <a:headEnd type="none" w="med" len="med"/>
            <a:tailEnd type="none" w="med" len="me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GB" sz="24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0FAF3E9-24D5-4C67-98F1-BB953C47476C}"/>
              </a:ext>
            </a:extLst>
          </p:cNvPr>
          <p:cNvSpPr txBox="1"/>
          <p:nvPr/>
        </p:nvSpPr>
        <p:spPr>
          <a:xfrm>
            <a:off x="738882" y="2436687"/>
            <a:ext cx="893905" cy="461665"/>
          </a:xfrm>
          <a:prstGeom prst="rect">
            <a:avLst/>
          </a:prstGeom>
          <a:ln>
            <a:solidFill>
              <a:srgbClr val="2AD03D"/>
            </a:solidFill>
            <a:headEnd type="none" w="med" len="med"/>
            <a:tailEnd type="none" w="med" len="me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GB" sz="2400" dirty="0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A6A06D2-FB1B-466E-824C-3DDD4A97AB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A6A06D2-FB1B-466E-824C-3DDD4A97AB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object 5">
            <a:extLst>
              <a:ext uri="{FF2B5EF4-FFF2-40B4-BE49-F238E27FC236}">
                <a16:creationId xmlns:a16="http://schemas.microsoft.com/office/drawing/2014/main" id="{21D00346-F481-4D63-8CDB-0D31C06DAA61}"/>
              </a:ext>
            </a:extLst>
          </p:cNvPr>
          <p:cNvSpPr/>
          <p:nvPr/>
        </p:nvSpPr>
        <p:spPr>
          <a:xfrm>
            <a:off x="6051629" y="5734354"/>
            <a:ext cx="5885159" cy="932387"/>
          </a:xfrm>
          <a:custGeom>
            <a:avLst/>
            <a:gdLst/>
            <a:ahLst/>
            <a:cxnLst/>
            <a:rect l="l" t="t" r="r" b="b"/>
            <a:pathLst>
              <a:path w="12959080" h="3557904">
                <a:moveTo>
                  <a:pt x="12958610" y="0"/>
                </a:moveTo>
                <a:lnTo>
                  <a:pt x="0" y="0"/>
                </a:lnTo>
                <a:lnTo>
                  <a:pt x="0" y="3557514"/>
                </a:lnTo>
                <a:lnTo>
                  <a:pt x="12958610" y="3557514"/>
                </a:lnTo>
                <a:lnTo>
                  <a:pt x="12958610" y="0"/>
                </a:lnTo>
                <a:close/>
              </a:path>
            </a:pathLst>
          </a:custGeom>
          <a:solidFill>
            <a:srgbClr val="2AD03D"/>
          </a:solidFill>
        </p:spPr>
        <p:txBody>
          <a:bodyPr wrap="square" lIns="0" tIns="0" rIns="0" bIns="0" rtlCol="0"/>
          <a:lstStyle/>
          <a:p>
            <a:endParaRPr sz="133"/>
          </a:p>
        </p:txBody>
      </p:sp>
      <p:grpSp>
        <p:nvGrpSpPr>
          <p:cNvPr id="8" name="object 10">
            <a:extLst>
              <a:ext uri="{FF2B5EF4-FFF2-40B4-BE49-F238E27FC236}">
                <a16:creationId xmlns:a16="http://schemas.microsoft.com/office/drawing/2014/main" id="{77E19B5D-EE03-458C-8552-C05FC0E4476F}"/>
              </a:ext>
            </a:extLst>
          </p:cNvPr>
          <p:cNvGrpSpPr/>
          <p:nvPr/>
        </p:nvGrpSpPr>
        <p:grpSpPr>
          <a:xfrm>
            <a:off x="7859944" y="5408557"/>
            <a:ext cx="2272803" cy="1490723"/>
            <a:chOff x="5341654" y="6655114"/>
            <a:chExt cx="4323715" cy="2835910"/>
          </a:xfrm>
        </p:grpSpPr>
        <p:sp>
          <p:nvSpPr>
            <p:cNvPr id="9" name="object 11">
              <a:extLst>
                <a:ext uri="{FF2B5EF4-FFF2-40B4-BE49-F238E27FC236}">
                  <a16:creationId xmlns:a16="http://schemas.microsoft.com/office/drawing/2014/main" id="{16713110-E936-4738-A4EA-6AEA3A022135}"/>
                </a:ext>
              </a:extLst>
            </p:cNvPr>
            <p:cNvSpPr/>
            <p:nvPr/>
          </p:nvSpPr>
          <p:spPr>
            <a:xfrm>
              <a:off x="5345695" y="6655114"/>
              <a:ext cx="0" cy="2835910"/>
            </a:xfrm>
            <a:custGeom>
              <a:avLst/>
              <a:gdLst/>
              <a:ahLst/>
              <a:cxnLst/>
              <a:rect l="l" t="t" r="r" b="b"/>
              <a:pathLst>
                <a:path h="2835909">
                  <a:moveTo>
                    <a:pt x="0" y="0"/>
                  </a:moveTo>
                  <a:lnTo>
                    <a:pt x="0" y="2835589"/>
                  </a:lnTo>
                </a:path>
              </a:pathLst>
            </a:custGeom>
            <a:ln w="8083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33"/>
            </a:p>
          </p:txBody>
        </p:sp>
        <p:sp>
          <p:nvSpPr>
            <p:cNvPr id="10" name="object 12">
              <a:extLst>
                <a:ext uri="{FF2B5EF4-FFF2-40B4-BE49-F238E27FC236}">
                  <a16:creationId xmlns:a16="http://schemas.microsoft.com/office/drawing/2014/main" id="{996CCD44-94F4-41D0-95DB-55A3A03CAC8F}"/>
                </a:ext>
              </a:extLst>
            </p:cNvPr>
            <p:cNvSpPr/>
            <p:nvPr/>
          </p:nvSpPr>
          <p:spPr>
            <a:xfrm>
              <a:off x="9661155" y="6655114"/>
              <a:ext cx="0" cy="2835910"/>
            </a:xfrm>
            <a:custGeom>
              <a:avLst/>
              <a:gdLst/>
              <a:ahLst/>
              <a:cxnLst/>
              <a:rect l="l" t="t" r="r" b="b"/>
              <a:pathLst>
                <a:path h="2835909">
                  <a:moveTo>
                    <a:pt x="0" y="0"/>
                  </a:moveTo>
                  <a:lnTo>
                    <a:pt x="0" y="2835589"/>
                  </a:lnTo>
                </a:path>
              </a:pathLst>
            </a:custGeom>
            <a:ln w="8083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33"/>
            </a:p>
          </p:txBody>
        </p:sp>
      </p:grp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224801F-1B6E-484F-8C4F-3C6C0735FF55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944644" y="6086704"/>
            <a:ext cx="1909233" cy="245533"/>
          </a:xfrm>
        </p:spPr>
        <p:txBody>
          <a:bodyPr anchor="ctr">
            <a:normAutofit fontScale="77500" lnSpcReduction="20000"/>
          </a:bodyPr>
          <a:lstStyle/>
          <a:p>
            <a:pPr marL="0" indent="0" algn="ctr">
              <a:spcBef>
                <a:spcPts val="800"/>
              </a:spcBef>
              <a:buNone/>
            </a:pPr>
            <a:r>
              <a:rPr lang="en-US" sz="1600" b="1" dirty="0">
                <a:solidFill>
                  <a:schemeClr val="bg1"/>
                </a:solidFill>
                <a:latin typeface="Nexa Bold" panose="02000000000000000000" pitchFamily="50" charset="0"/>
              </a:rPr>
              <a:t>Single monthly payment</a:t>
            </a: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F9DBBCDA-9462-4012-B6C3-B35EF4C6738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27833" y="496288"/>
            <a:ext cx="9872780" cy="410369"/>
          </a:xfrm>
        </p:spPr>
        <p:txBody>
          <a:bodyPr vert="horz">
            <a:normAutofit fontScale="90000"/>
          </a:bodyPr>
          <a:lstStyle/>
          <a:p>
            <a:pPr algn="l"/>
            <a:r>
              <a:rPr lang="en-US" sz="2667" b="1" cap="all" dirty="0">
                <a:latin typeface="Nexa Bold" panose="02000000000000000000" pitchFamily="50" charset="0"/>
              </a:rPr>
              <a:t>FUZE LEASE &amp; Asset MANAGEMENT – ‘ENABLING the ecosystem’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2C58A79E-CBA7-49FB-A85E-032F5E806CCE}"/>
              </a:ext>
            </a:extLst>
          </p:cNvPr>
          <p:cNvSpPr txBox="1">
            <a:spLocks/>
          </p:cNvSpPr>
          <p:nvPr/>
        </p:nvSpPr>
        <p:spPr>
          <a:xfrm>
            <a:off x="10098252" y="5812126"/>
            <a:ext cx="1910927" cy="7386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>
              <a:defRPr>
                <a:latin typeface="Nexa Book" panose="02000000000000000000" pitchFamily="50" charset="0"/>
                <a:ea typeface="+mn-ea"/>
                <a:cs typeface="+mn-cs"/>
              </a:defRPr>
            </a:lvl1pPr>
            <a:lvl2pPr marL="171433">
              <a:defRPr>
                <a:latin typeface="Nexa Book" panose="02000000000000000000" pitchFamily="50" charset="0"/>
                <a:ea typeface="+mn-ea"/>
                <a:cs typeface="+mn-cs"/>
              </a:defRPr>
            </a:lvl2pPr>
            <a:lvl3pPr marL="342866">
              <a:defRPr>
                <a:latin typeface="Nexa Book" panose="02000000000000000000" pitchFamily="50" charset="0"/>
                <a:ea typeface="+mn-ea"/>
                <a:cs typeface="+mn-cs"/>
              </a:defRPr>
            </a:lvl3pPr>
            <a:lvl4pPr marL="514299">
              <a:defRPr>
                <a:latin typeface="Nexa Book" panose="02000000000000000000" pitchFamily="50" charset="0"/>
                <a:ea typeface="+mn-ea"/>
                <a:cs typeface="+mn-cs"/>
              </a:defRPr>
            </a:lvl4pPr>
            <a:lvl5pPr marL="685731">
              <a:defRPr>
                <a:latin typeface="Nexa Book" panose="02000000000000000000" pitchFamily="50" charset="0"/>
                <a:ea typeface="+mn-ea"/>
                <a:cs typeface="+mn-cs"/>
              </a:defRPr>
            </a:lvl5pPr>
            <a:lvl6pPr marL="857164">
              <a:defRPr>
                <a:latin typeface="+mn-lt"/>
                <a:ea typeface="+mn-ea"/>
                <a:cs typeface="+mn-cs"/>
              </a:defRPr>
            </a:lvl6pPr>
            <a:lvl7pPr marL="1028597">
              <a:defRPr>
                <a:latin typeface="+mn-lt"/>
                <a:ea typeface="+mn-ea"/>
                <a:cs typeface="+mn-cs"/>
              </a:defRPr>
            </a:lvl7pPr>
            <a:lvl8pPr marL="1200030">
              <a:defRPr>
                <a:latin typeface="+mn-lt"/>
                <a:ea typeface="+mn-ea"/>
                <a:cs typeface="+mn-cs"/>
              </a:defRPr>
            </a:lvl8pPr>
            <a:lvl9pPr marL="1371463">
              <a:defRPr>
                <a:latin typeface="+mn-lt"/>
                <a:ea typeface="+mn-ea"/>
                <a:cs typeface="+mn-cs"/>
              </a:defRPr>
            </a:lvl9pPr>
          </a:lstStyle>
          <a:p>
            <a:pPr algn="ctr" defTabSz="1219170">
              <a:spcBef>
                <a:spcPts val="800"/>
              </a:spcBef>
            </a:pPr>
            <a:r>
              <a:rPr lang="en-US" sz="1600" b="1" kern="0" dirty="0">
                <a:solidFill>
                  <a:schemeClr val="bg1"/>
                </a:solidFill>
                <a:latin typeface="Nexa Bold" panose="02000000000000000000" pitchFamily="50" charset="0"/>
              </a:rPr>
              <a:t>Asset Management for duration of the agreement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A6FDECFD-E06C-4587-995B-FBAC98344501}"/>
              </a:ext>
            </a:extLst>
          </p:cNvPr>
          <p:cNvSpPr txBox="1">
            <a:spLocks/>
          </p:cNvSpPr>
          <p:nvPr/>
        </p:nvSpPr>
        <p:spPr>
          <a:xfrm>
            <a:off x="6081282" y="6058348"/>
            <a:ext cx="1715824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>
              <a:defRPr>
                <a:latin typeface="Nexa Book" panose="02000000000000000000" pitchFamily="50" charset="0"/>
                <a:ea typeface="+mn-ea"/>
                <a:cs typeface="+mn-cs"/>
              </a:defRPr>
            </a:lvl1pPr>
            <a:lvl2pPr marL="171433">
              <a:defRPr>
                <a:latin typeface="Nexa Book" panose="02000000000000000000" pitchFamily="50" charset="0"/>
                <a:ea typeface="+mn-ea"/>
                <a:cs typeface="+mn-cs"/>
              </a:defRPr>
            </a:lvl2pPr>
            <a:lvl3pPr marL="342866">
              <a:defRPr>
                <a:latin typeface="Nexa Book" panose="02000000000000000000" pitchFamily="50" charset="0"/>
                <a:ea typeface="+mn-ea"/>
                <a:cs typeface="+mn-cs"/>
              </a:defRPr>
            </a:lvl3pPr>
            <a:lvl4pPr marL="514299">
              <a:defRPr>
                <a:latin typeface="Nexa Book" panose="02000000000000000000" pitchFamily="50" charset="0"/>
                <a:ea typeface="+mn-ea"/>
                <a:cs typeface="+mn-cs"/>
              </a:defRPr>
            </a:lvl4pPr>
            <a:lvl5pPr marL="685731">
              <a:defRPr>
                <a:latin typeface="Nexa Book" panose="02000000000000000000" pitchFamily="50" charset="0"/>
                <a:ea typeface="+mn-ea"/>
                <a:cs typeface="+mn-cs"/>
              </a:defRPr>
            </a:lvl5pPr>
            <a:lvl6pPr marL="857164">
              <a:defRPr>
                <a:latin typeface="+mn-lt"/>
                <a:ea typeface="+mn-ea"/>
                <a:cs typeface="+mn-cs"/>
              </a:defRPr>
            </a:lvl6pPr>
            <a:lvl7pPr marL="1028597">
              <a:defRPr>
                <a:latin typeface="+mn-lt"/>
                <a:ea typeface="+mn-ea"/>
                <a:cs typeface="+mn-cs"/>
              </a:defRPr>
            </a:lvl7pPr>
            <a:lvl8pPr marL="1200030">
              <a:defRPr>
                <a:latin typeface="+mn-lt"/>
                <a:ea typeface="+mn-ea"/>
                <a:cs typeface="+mn-cs"/>
              </a:defRPr>
            </a:lvl8pPr>
            <a:lvl9pPr marL="1371463">
              <a:defRPr>
                <a:latin typeface="+mn-lt"/>
                <a:ea typeface="+mn-ea"/>
                <a:cs typeface="+mn-cs"/>
              </a:defRPr>
            </a:lvl9pPr>
          </a:lstStyle>
          <a:p>
            <a:pPr algn="ctr" defTabSz="1219170">
              <a:spcBef>
                <a:spcPts val="800"/>
              </a:spcBef>
            </a:pPr>
            <a:r>
              <a:rPr lang="en-US" sz="1600" b="1" kern="0" dirty="0">
                <a:solidFill>
                  <a:schemeClr val="bg1"/>
                </a:solidFill>
                <a:latin typeface="Nexa Bold" panose="02000000000000000000" pitchFamily="50" charset="0"/>
              </a:rPr>
              <a:t>TCO Calculation</a:t>
            </a:r>
          </a:p>
        </p:txBody>
      </p:sp>
      <p:pic>
        <p:nvPicPr>
          <p:cNvPr id="11" name="Graphic 10" descr="Route (Two Pins With A Path) with solid fill">
            <a:extLst>
              <a:ext uri="{FF2B5EF4-FFF2-40B4-BE49-F238E27FC236}">
                <a16:creationId xmlns:a16="http://schemas.microsoft.com/office/drawing/2014/main" id="{CF1B3610-041D-400A-AEA2-81FAF87AF59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29991" y="2434530"/>
            <a:ext cx="439500" cy="4395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5EF27F1-0A82-4723-9968-E7F77460B0E9}"/>
              </a:ext>
            </a:extLst>
          </p:cNvPr>
          <p:cNvSpPr txBox="1"/>
          <p:nvPr/>
        </p:nvSpPr>
        <p:spPr>
          <a:xfrm>
            <a:off x="2318983" y="1500733"/>
            <a:ext cx="2149571" cy="379656"/>
          </a:xfrm>
          <a:prstGeom prst="rect">
            <a:avLst/>
          </a:prstGeom>
          <a:ln/>
          <a:effectLst>
            <a:glow rad="101600">
              <a:srgbClr val="2AD03D">
                <a:alpha val="60000"/>
              </a:srgbClr>
            </a:glo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867" dirty="0">
                <a:solidFill>
                  <a:srgbClr val="1E2722"/>
                </a:solidFill>
                <a:latin typeface="Nexa Black" panose="02000000000000000000" pitchFamily="50" charset="0"/>
                <a:ea typeface="+mj-ea"/>
              </a:rPr>
              <a:t>Infrastructure</a:t>
            </a:r>
            <a:endParaRPr lang="en-GB" sz="1867" dirty="0">
              <a:solidFill>
                <a:srgbClr val="1E2722"/>
              </a:solidFill>
              <a:latin typeface="Nexa Black" panose="02000000000000000000" pitchFamily="50" charset="0"/>
              <a:ea typeface="+mj-ea"/>
            </a:endParaRPr>
          </a:p>
        </p:txBody>
      </p:sp>
      <p:pic>
        <p:nvPicPr>
          <p:cNvPr id="19" name="Graphic 18" descr="Fuel with solid fill">
            <a:extLst>
              <a:ext uri="{FF2B5EF4-FFF2-40B4-BE49-F238E27FC236}">
                <a16:creationId xmlns:a16="http://schemas.microsoft.com/office/drawing/2014/main" id="{6B9D2BEA-F6B7-4CEA-A06B-5DB191FE607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234262" y="4845190"/>
            <a:ext cx="363373" cy="363373"/>
          </a:xfrm>
          <a:prstGeom prst="rect">
            <a:avLst/>
          </a:prstGeom>
        </p:spPr>
      </p:pic>
      <p:pic>
        <p:nvPicPr>
          <p:cNvPr id="21" name="Graphic 20" descr="Battery charging with solid fill">
            <a:extLst>
              <a:ext uri="{FF2B5EF4-FFF2-40B4-BE49-F238E27FC236}">
                <a16:creationId xmlns:a16="http://schemas.microsoft.com/office/drawing/2014/main" id="{0736C786-7414-4B61-AF1D-5896935DD2E6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30652" y="4762216"/>
            <a:ext cx="363373" cy="363373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870FB0FB-B1BE-47DC-8090-FBA67F102E90}"/>
              </a:ext>
            </a:extLst>
          </p:cNvPr>
          <p:cNvSpPr txBox="1"/>
          <p:nvPr/>
        </p:nvSpPr>
        <p:spPr>
          <a:xfrm>
            <a:off x="740037" y="1400407"/>
            <a:ext cx="893905" cy="461665"/>
          </a:xfrm>
          <a:prstGeom prst="rect">
            <a:avLst/>
          </a:prstGeom>
          <a:ln>
            <a:solidFill>
              <a:srgbClr val="2AD03D"/>
            </a:solidFill>
            <a:headEnd type="none" w="med" len="med"/>
            <a:tailEnd type="none" w="med" len="me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GB" sz="2400" dirty="0"/>
          </a:p>
        </p:txBody>
      </p:sp>
      <p:pic>
        <p:nvPicPr>
          <p:cNvPr id="29" name="Graphic 28" descr="Bus with solid fill">
            <a:extLst>
              <a:ext uri="{FF2B5EF4-FFF2-40B4-BE49-F238E27FC236}">
                <a16:creationId xmlns:a16="http://schemas.microsoft.com/office/drawing/2014/main" id="{0E96B6AB-A04F-4EBA-916E-B4A7597CC5F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16668" y="3622836"/>
            <a:ext cx="499281" cy="499281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BF45F2DF-EB63-44FF-A3F5-6D9A6029893B}"/>
              </a:ext>
            </a:extLst>
          </p:cNvPr>
          <p:cNvSpPr txBox="1"/>
          <p:nvPr/>
        </p:nvSpPr>
        <p:spPr>
          <a:xfrm>
            <a:off x="2307085" y="2535471"/>
            <a:ext cx="2149571" cy="379656"/>
          </a:xfrm>
          <a:prstGeom prst="rect">
            <a:avLst/>
          </a:prstGeom>
          <a:ln/>
          <a:effectLst>
            <a:glow rad="101600">
              <a:srgbClr val="2AD03D">
                <a:alpha val="60000"/>
              </a:srgbClr>
            </a:glo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867" dirty="0">
                <a:latin typeface="Nexa Black" panose="02000000000000000000" pitchFamily="50" charset="0"/>
                <a:ea typeface="+mj-ea"/>
              </a:rPr>
              <a:t>Route Planning</a:t>
            </a:r>
            <a:endParaRPr lang="en-GB" sz="1867" dirty="0">
              <a:latin typeface="Nexa Black" panose="02000000000000000000" pitchFamily="50" charset="0"/>
              <a:ea typeface="+mj-ea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2CE9CCB-FF2B-464F-B7D1-CB51E9D98827}"/>
              </a:ext>
            </a:extLst>
          </p:cNvPr>
          <p:cNvSpPr txBox="1"/>
          <p:nvPr/>
        </p:nvSpPr>
        <p:spPr>
          <a:xfrm>
            <a:off x="2338123" y="3725595"/>
            <a:ext cx="2149571" cy="379656"/>
          </a:xfrm>
          <a:prstGeom prst="rect">
            <a:avLst/>
          </a:prstGeom>
          <a:ln/>
          <a:effectLst>
            <a:glow rad="101600">
              <a:srgbClr val="2AD03D">
                <a:alpha val="60000"/>
              </a:srgbClr>
            </a:glo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867" dirty="0">
                <a:latin typeface="Nexa Black" panose="02000000000000000000" pitchFamily="50" charset="0"/>
                <a:ea typeface="+mj-ea"/>
              </a:rPr>
              <a:t>Base Vehicle</a:t>
            </a:r>
            <a:endParaRPr lang="en-GB" sz="1867" dirty="0">
              <a:latin typeface="Nexa Black" panose="02000000000000000000" pitchFamily="50" charset="0"/>
              <a:ea typeface="+mj-ea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E0D425C5-83B7-4E01-962E-484AAA29B46C}"/>
              </a:ext>
            </a:extLst>
          </p:cNvPr>
          <p:cNvSpPr txBox="1"/>
          <p:nvPr/>
        </p:nvSpPr>
        <p:spPr>
          <a:xfrm>
            <a:off x="2338123" y="4828907"/>
            <a:ext cx="2149571" cy="379656"/>
          </a:xfrm>
          <a:prstGeom prst="rect">
            <a:avLst/>
          </a:prstGeom>
          <a:ln/>
          <a:effectLst>
            <a:glow rad="101600">
              <a:srgbClr val="2AD03D">
                <a:alpha val="60000"/>
              </a:srgbClr>
            </a:glo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867" dirty="0">
                <a:latin typeface="Nexa Black" panose="02000000000000000000" pitchFamily="50" charset="0"/>
                <a:ea typeface="+mj-ea"/>
              </a:rPr>
              <a:t>Fuel/Power</a:t>
            </a:r>
            <a:endParaRPr lang="en-GB" sz="1867" dirty="0">
              <a:latin typeface="Nexa Black" panose="02000000000000000000" pitchFamily="50" charset="0"/>
              <a:ea typeface="+mj-ea"/>
            </a:endParaRPr>
          </a:p>
        </p:txBody>
      </p:sp>
      <p:sp>
        <p:nvSpPr>
          <p:cNvPr id="52" name="Right Brace 51">
            <a:extLst>
              <a:ext uri="{FF2B5EF4-FFF2-40B4-BE49-F238E27FC236}">
                <a16:creationId xmlns:a16="http://schemas.microsoft.com/office/drawing/2014/main" id="{69EA579C-7033-4E22-A8F9-AD02079E907B}"/>
              </a:ext>
            </a:extLst>
          </p:cNvPr>
          <p:cNvSpPr/>
          <p:nvPr/>
        </p:nvSpPr>
        <p:spPr>
          <a:xfrm>
            <a:off x="4633332" y="1500733"/>
            <a:ext cx="1295571" cy="4971504"/>
          </a:xfrm>
          <a:prstGeom prst="rightBrace">
            <a:avLst>
              <a:gd name="adj1" fmla="val 8333"/>
              <a:gd name="adj2" fmla="val 50552"/>
            </a:avLst>
          </a:prstGeom>
          <a:ln w="19050">
            <a:solidFill>
              <a:srgbClr val="2AD0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53" name="Arrow: Right 52">
            <a:extLst>
              <a:ext uri="{FF2B5EF4-FFF2-40B4-BE49-F238E27FC236}">
                <a16:creationId xmlns:a16="http://schemas.microsoft.com/office/drawing/2014/main" id="{47E67C8B-5C2A-4C1F-8D01-488AF3C3FD6B}"/>
              </a:ext>
            </a:extLst>
          </p:cNvPr>
          <p:cNvSpPr/>
          <p:nvPr/>
        </p:nvSpPr>
        <p:spPr>
          <a:xfrm>
            <a:off x="8634677" y="3840553"/>
            <a:ext cx="1219200" cy="149740"/>
          </a:xfrm>
          <a:prstGeom prst="rightArrow">
            <a:avLst/>
          </a:prstGeom>
          <a:solidFill>
            <a:srgbClr val="2AD03D"/>
          </a:solidFill>
          <a:ln>
            <a:solidFill>
              <a:srgbClr val="2AD0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C595272-9260-4205-B03A-4956A7CCBB49}"/>
              </a:ext>
            </a:extLst>
          </p:cNvPr>
          <p:cNvSpPr txBox="1"/>
          <p:nvPr/>
        </p:nvSpPr>
        <p:spPr>
          <a:xfrm>
            <a:off x="739118" y="5787658"/>
            <a:ext cx="893905" cy="461665"/>
          </a:xfrm>
          <a:prstGeom prst="rect">
            <a:avLst/>
          </a:prstGeom>
          <a:ln>
            <a:solidFill>
              <a:srgbClr val="2AD03D"/>
            </a:solidFill>
            <a:headEnd type="none" w="med" len="med"/>
            <a:tailEnd type="none" w="med" len="me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GB" sz="24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6F961B53-727D-4DE9-8F38-4274D3C565EA}"/>
              </a:ext>
            </a:extLst>
          </p:cNvPr>
          <p:cNvSpPr txBox="1"/>
          <p:nvPr/>
        </p:nvSpPr>
        <p:spPr>
          <a:xfrm>
            <a:off x="2338123" y="5820892"/>
            <a:ext cx="2149571" cy="379656"/>
          </a:xfrm>
          <a:prstGeom prst="rect">
            <a:avLst/>
          </a:prstGeom>
          <a:ln/>
          <a:effectLst>
            <a:glow rad="101600">
              <a:srgbClr val="2AD03D">
                <a:alpha val="60000"/>
              </a:srgbClr>
            </a:glo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867" dirty="0">
                <a:latin typeface="Nexa Black" panose="02000000000000000000" pitchFamily="50" charset="0"/>
                <a:ea typeface="+mj-ea"/>
              </a:rPr>
              <a:t>Maintenance</a:t>
            </a:r>
            <a:endParaRPr lang="en-GB" sz="1867" dirty="0">
              <a:latin typeface="Nexa Black" panose="02000000000000000000" pitchFamily="50" charset="0"/>
              <a:ea typeface="+mj-ea"/>
            </a:endParaRPr>
          </a:p>
        </p:txBody>
      </p:sp>
      <p:pic>
        <p:nvPicPr>
          <p:cNvPr id="57" name="Graphic 56" descr="Tools with solid fill">
            <a:extLst>
              <a:ext uri="{FF2B5EF4-FFF2-40B4-BE49-F238E27FC236}">
                <a16:creationId xmlns:a16="http://schemas.microsoft.com/office/drawing/2014/main" id="{C2BF352E-4DFD-4FFE-87AD-498166FDD920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998394" y="5836432"/>
            <a:ext cx="364116" cy="364116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E4625965-DD57-4D72-AC27-6ACFE0438BF9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624198" y="348928"/>
            <a:ext cx="886012" cy="907755"/>
          </a:xfrm>
          <a:prstGeom prst="rect">
            <a:avLst/>
          </a:prstGeom>
        </p:spPr>
      </p:pic>
      <p:sp>
        <p:nvSpPr>
          <p:cNvPr id="69" name="Freeform: Shape 68">
            <a:extLst>
              <a:ext uri="{FF2B5EF4-FFF2-40B4-BE49-F238E27FC236}">
                <a16:creationId xmlns:a16="http://schemas.microsoft.com/office/drawing/2014/main" id="{5ED5216F-2D5E-4F07-9E5C-3EF9AE1E31A2}"/>
              </a:ext>
            </a:extLst>
          </p:cNvPr>
          <p:cNvSpPr/>
          <p:nvPr/>
        </p:nvSpPr>
        <p:spPr>
          <a:xfrm>
            <a:off x="929991" y="1452397"/>
            <a:ext cx="489587" cy="349498"/>
          </a:xfrm>
          <a:custGeom>
            <a:avLst/>
            <a:gdLst>
              <a:gd name="connsiteX0" fmla="*/ 390557 w 442631"/>
              <a:gd name="connsiteY0" fmla="*/ 397066 h 442631"/>
              <a:gd name="connsiteX1" fmla="*/ 312446 w 442631"/>
              <a:gd name="connsiteY1" fmla="*/ 397066 h 442631"/>
              <a:gd name="connsiteX2" fmla="*/ 312446 w 442631"/>
              <a:gd name="connsiteY2" fmla="*/ 338483 h 442631"/>
              <a:gd name="connsiteX3" fmla="*/ 390557 w 442631"/>
              <a:gd name="connsiteY3" fmla="*/ 338483 h 442631"/>
              <a:gd name="connsiteX4" fmla="*/ 390557 w 442631"/>
              <a:gd name="connsiteY4" fmla="*/ 397066 h 442631"/>
              <a:gd name="connsiteX5" fmla="*/ 260371 w 442631"/>
              <a:gd name="connsiteY5" fmla="*/ 397066 h 442631"/>
              <a:gd name="connsiteX6" fmla="*/ 182260 w 442631"/>
              <a:gd name="connsiteY6" fmla="*/ 397066 h 442631"/>
              <a:gd name="connsiteX7" fmla="*/ 182260 w 442631"/>
              <a:gd name="connsiteY7" fmla="*/ 338483 h 442631"/>
              <a:gd name="connsiteX8" fmla="*/ 260371 w 442631"/>
              <a:gd name="connsiteY8" fmla="*/ 338483 h 442631"/>
              <a:gd name="connsiteX9" fmla="*/ 260371 w 442631"/>
              <a:gd name="connsiteY9" fmla="*/ 397066 h 442631"/>
              <a:gd name="connsiteX10" fmla="*/ 130186 w 442631"/>
              <a:gd name="connsiteY10" fmla="*/ 397066 h 442631"/>
              <a:gd name="connsiteX11" fmla="*/ 52074 w 442631"/>
              <a:gd name="connsiteY11" fmla="*/ 397066 h 442631"/>
              <a:gd name="connsiteX12" fmla="*/ 52074 w 442631"/>
              <a:gd name="connsiteY12" fmla="*/ 338483 h 442631"/>
              <a:gd name="connsiteX13" fmla="*/ 130186 w 442631"/>
              <a:gd name="connsiteY13" fmla="*/ 338483 h 442631"/>
              <a:gd name="connsiteX14" fmla="*/ 130186 w 442631"/>
              <a:gd name="connsiteY14" fmla="*/ 397066 h 442631"/>
              <a:gd name="connsiteX15" fmla="*/ 266881 w 442631"/>
              <a:gd name="connsiteY15" fmla="*/ 266881 h 442631"/>
              <a:gd name="connsiteX16" fmla="*/ 266881 w 442631"/>
              <a:gd name="connsiteY16" fmla="*/ 175751 h 442631"/>
              <a:gd name="connsiteX17" fmla="*/ 91130 w 442631"/>
              <a:gd name="connsiteY17" fmla="*/ 266881 h 442631"/>
              <a:gd name="connsiteX18" fmla="*/ 71602 w 442631"/>
              <a:gd name="connsiteY18" fmla="*/ 0 h 442631"/>
              <a:gd name="connsiteX19" fmla="*/ 19528 w 442631"/>
              <a:gd name="connsiteY19" fmla="*/ 0 h 442631"/>
              <a:gd name="connsiteX20" fmla="*/ 0 w 442631"/>
              <a:gd name="connsiteY20" fmla="*/ 266881 h 442631"/>
              <a:gd name="connsiteX21" fmla="*/ 0 w 442631"/>
              <a:gd name="connsiteY21" fmla="*/ 442631 h 442631"/>
              <a:gd name="connsiteX22" fmla="*/ 442631 w 442631"/>
              <a:gd name="connsiteY22" fmla="*/ 442631 h 442631"/>
              <a:gd name="connsiteX23" fmla="*/ 442631 w 442631"/>
              <a:gd name="connsiteY23" fmla="*/ 266881 h 442631"/>
              <a:gd name="connsiteX24" fmla="*/ 442631 w 442631"/>
              <a:gd name="connsiteY24" fmla="*/ 175751 h 442631"/>
              <a:gd name="connsiteX25" fmla="*/ 266881 w 442631"/>
              <a:gd name="connsiteY25" fmla="*/ 266881 h 442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442631" h="442631">
                <a:moveTo>
                  <a:pt x="390557" y="397066"/>
                </a:moveTo>
                <a:lnTo>
                  <a:pt x="312446" y="397066"/>
                </a:lnTo>
                <a:lnTo>
                  <a:pt x="312446" y="338483"/>
                </a:lnTo>
                <a:lnTo>
                  <a:pt x="390557" y="338483"/>
                </a:lnTo>
                <a:lnTo>
                  <a:pt x="390557" y="397066"/>
                </a:lnTo>
                <a:close/>
                <a:moveTo>
                  <a:pt x="260371" y="397066"/>
                </a:moveTo>
                <a:lnTo>
                  <a:pt x="182260" y="397066"/>
                </a:lnTo>
                <a:lnTo>
                  <a:pt x="182260" y="338483"/>
                </a:lnTo>
                <a:lnTo>
                  <a:pt x="260371" y="338483"/>
                </a:lnTo>
                <a:lnTo>
                  <a:pt x="260371" y="397066"/>
                </a:lnTo>
                <a:close/>
                <a:moveTo>
                  <a:pt x="130186" y="397066"/>
                </a:moveTo>
                <a:lnTo>
                  <a:pt x="52074" y="397066"/>
                </a:lnTo>
                <a:lnTo>
                  <a:pt x="52074" y="338483"/>
                </a:lnTo>
                <a:lnTo>
                  <a:pt x="130186" y="338483"/>
                </a:lnTo>
                <a:lnTo>
                  <a:pt x="130186" y="397066"/>
                </a:lnTo>
                <a:close/>
                <a:moveTo>
                  <a:pt x="266881" y="266881"/>
                </a:moveTo>
                <a:lnTo>
                  <a:pt x="266881" y="175751"/>
                </a:lnTo>
                <a:lnTo>
                  <a:pt x="91130" y="266881"/>
                </a:lnTo>
                <a:lnTo>
                  <a:pt x="71602" y="0"/>
                </a:lnTo>
                <a:lnTo>
                  <a:pt x="19528" y="0"/>
                </a:lnTo>
                <a:lnTo>
                  <a:pt x="0" y="266881"/>
                </a:lnTo>
                <a:lnTo>
                  <a:pt x="0" y="442631"/>
                </a:lnTo>
                <a:lnTo>
                  <a:pt x="442631" y="442631"/>
                </a:lnTo>
                <a:lnTo>
                  <a:pt x="442631" y="266881"/>
                </a:lnTo>
                <a:lnTo>
                  <a:pt x="442631" y="175751"/>
                </a:lnTo>
                <a:lnTo>
                  <a:pt x="266881" y="266881"/>
                </a:lnTo>
                <a:close/>
              </a:path>
            </a:pathLst>
          </a:custGeom>
          <a:solidFill>
            <a:srgbClr val="2AD03D"/>
          </a:solidFill>
          <a:ln w="6449" cap="flat">
            <a:solidFill>
              <a:srgbClr val="0DBED6"/>
            </a:solidFill>
            <a:prstDash val="solid"/>
            <a:miter/>
          </a:ln>
        </p:spPr>
        <p:txBody>
          <a:bodyPr rtlCol="0" anchor="ctr"/>
          <a:lstStyle/>
          <a:p>
            <a:endParaRPr lang="en-GB" sz="2400" dirty="0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8622314E-7797-4EEC-92F0-B7623B0DBF64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7104" y="3622836"/>
            <a:ext cx="2164103" cy="778672"/>
          </a:xfrm>
          <a:prstGeom prst="rect">
            <a:avLst/>
          </a:prstGeom>
        </p:spPr>
      </p:pic>
      <p:pic>
        <p:nvPicPr>
          <p:cNvPr id="6" name="Graphic 5" descr="User outline">
            <a:extLst>
              <a:ext uri="{FF2B5EF4-FFF2-40B4-BE49-F238E27FC236}">
                <a16:creationId xmlns:a16="http://schemas.microsoft.com/office/drawing/2014/main" id="{9B8B1063-DA8D-40FB-98D8-28BA494AAD38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0164476" y="3415275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86367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 descr="A picture containing outdoor, grass, sky, nature&#10;&#10;Description automatically generated">
            <a:extLst>
              <a:ext uri="{FF2B5EF4-FFF2-40B4-BE49-F238E27FC236}">
                <a16:creationId xmlns:a16="http://schemas.microsoft.com/office/drawing/2014/main" id="{DFBCB144-7A23-384E-8807-C116C209985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>
            <a:off x="-21518" y="-13447"/>
            <a:ext cx="12235038" cy="6965576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E16965C3-425E-124C-B208-735BACEA1460}"/>
              </a:ext>
            </a:extLst>
          </p:cNvPr>
          <p:cNvSpPr/>
          <p:nvPr/>
        </p:nvSpPr>
        <p:spPr>
          <a:xfrm>
            <a:off x="0" y="3106272"/>
            <a:ext cx="12213519" cy="311971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8" name="Picture 2" descr="page30image24161344">
            <a:extLst>
              <a:ext uri="{FF2B5EF4-FFF2-40B4-BE49-F238E27FC236}">
                <a16:creationId xmlns:a16="http://schemas.microsoft.com/office/drawing/2014/main" id="{EF380C18-21F8-8244-8B30-D466F068FF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7376" y="4660970"/>
            <a:ext cx="12220136" cy="369333"/>
          </a:xfrm>
          <a:prstGeom prst="rect">
            <a:avLst/>
          </a:prstGeom>
          <a:solidFill>
            <a:srgbClr val="2FD03D"/>
          </a:solidFill>
        </p:spPr>
      </p:pic>
      <p:sp>
        <p:nvSpPr>
          <p:cNvPr id="10" name="Pentagon 9">
            <a:extLst>
              <a:ext uri="{FF2B5EF4-FFF2-40B4-BE49-F238E27FC236}">
                <a16:creationId xmlns:a16="http://schemas.microsoft.com/office/drawing/2014/main" id="{A1B3C5DC-AE68-494D-A71A-9BD10B4EF8D4}"/>
              </a:ext>
            </a:extLst>
          </p:cNvPr>
          <p:cNvSpPr/>
          <p:nvPr/>
        </p:nvSpPr>
        <p:spPr>
          <a:xfrm>
            <a:off x="415925" y="4369452"/>
            <a:ext cx="2358960" cy="913953"/>
          </a:xfrm>
          <a:prstGeom prst="homePlate">
            <a:avLst>
              <a:gd name="adj" fmla="val 22382"/>
            </a:avLst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72000" rIns="72000" bIns="72000" numCol="1" spcCol="1270" anchor="ctr" anchorCtr="0">
            <a:noAutofit/>
          </a:bodyPr>
          <a:lstStyle/>
          <a:p>
            <a:pPr lvl="0" defTabSz="400050">
              <a:spcBef>
                <a:spcPct val="0"/>
              </a:spcBef>
            </a:pPr>
            <a:r>
              <a:rPr lang="en-US" sz="1400" kern="1200" dirty="0">
                <a:latin typeface="Arial" panose="020B0604020202020204" pitchFamily="34" charset="0"/>
                <a:cs typeface="Arial" panose="020B0604020202020204" pitchFamily="34" charset="0"/>
              </a:rPr>
              <a:t>Infrastructure and Planning</a:t>
            </a:r>
            <a:endParaRPr lang="en-GB" sz="1400" kern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Chevron 10">
            <a:extLst>
              <a:ext uri="{FF2B5EF4-FFF2-40B4-BE49-F238E27FC236}">
                <a16:creationId xmlns:a16="http://schemas.microsoft.com/office/drawing/2014/main" id="{9DD7612C-A586-C440-8823-AF86ADBAE05E}"/>
              </a:ext>
            </a:extLst>
          </p:cNvPr>
          <p:cNvSpPr/>
          <p:nvPr/>
        </p:nvSpPr>
        <p:spPr>
          <a:xfrm>
            <a:off x="2665428" y="4369452"/>
            <a:ext cx="2358960" cy="913953"/>
          </a:xfrm>
          <a:prstGeom prst="chevron">
            <a:avLst>
              <a:gd name="adj" fmla="val 22382"/>
            </a:avLst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72000" rIns="72000" bIns="72000" numCol="1" spcCol="1270" anchor="ctr" anchorCtr="0">
            <a:noAutofit/>
          </a:bodyPr>
          <a:lstStyle/>
          <a:p>
            <a:pPr lvl="0" defTabSz="400050">
              <a:spcBef>
                <a:spcPct val="0"/>
              </a:spcBef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Fuel</a:t>
            </a:r>
          </a:p>
        </p:txBody>
      </p:sp>
      <p:sp>
        <p:nvSpPr>
          <p:cNvPr id="12" name="Chevron 11">
            <a:extLst>
              <a:ext uri="{FF2B5EF4-FFF2-40B4-BE49-F238E27FC236}">
                <a16:creationId xmlns:a16="http://schemas.microsoft.com/office/drawing/2014/main" id="{B795678D-E5A7-E445-A3C9-F848C79A064C}"/>
              </a:ext>
            </a:extLst>
          </p:cNvPr>
          <p:cNvSpPr/>
          <p:nvPr/>
        </p:nvSpPr>
        <p:spPr>
          <a:xfrm>
            <a:off x="4914931" y="4369452"/>
            <a:ext cx="2358960" cy="913953"/>
          </a:xfrm>
          <a:prstGeom prst="chevron">
            <a:avLst>
              <a:gd name="adj" fmla="val 22382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72000" rIns="72000" bIns="72000" numCol="1" spcCol="1270" anchor="ctr" anchorCtr="0">
            <a:noAutofit/>
          </a:bodyPr>
          <a:lstStyle/>
          <a:p>
            <a:pPr lvl="0" defTabSz="400050">
              <a:spcBef>
                <a:spcPct val="0"/>
              </a:spcBef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Finance</a:t>
            </a:r>
          </a:p>
        </p:txBody>
      </p:sp>
      <p:sp>
        <p:nvSpPr>
          <p:cNvPr id="13" name="Chevron 12">
            <a:extLst>
              <a:ext uri="{FF2B5EF4-FFF2-40B4-BE49-F238E27FC236}">
                <a16:creationId xmlns:a16="http://schemas.microsoft.com/office/drawing/2014/main" id="{E95BD3AD-47B4-934C-BCE9-12004CA844D1}"/>
              </a:ext>
            </a:extLst>
          </p:cNvPr>
          <p:cNvSpPr/>
          <p:nvPr/>
        </p:nvSpPr>
        <p:spPr>
          <a:xfrm>
            <a:off x="7164434" y="4369452"/>
            <a:ext cx="2358960" cy="913953"/>
          </a:xfrm>
          <a:prstGeom prst="chevron">
            <a:avLst>
              <a:gd name="adj" fmla="val 22382"/>
            </a:avLst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72000" rIns="72000" bIns="72000" numCol="1" spcCol="1270" anchor="ctr" anchorCtr="0">
            <a:noAutofit/>
          </a:bodyPr>
          <a:lstStyle/>
          <a:p>
            <a:pPr lvl="0" defTabSz="400050">
              <a:spcBef>
                <a:spcPct val="0"/>
              </a:spcBef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Bus</a:t>
            </a:r>
          </a:p>
        </p:txBody>
      </p:sp>
      <p:sp>
        <p:nvSpPr>
          <p:cNvPr id="14" name="Chevron 13">
            <a:extLst>
              <a:ext uri="{FF2B5EF4-FFF2-40B4-BE49-F238E27FC236}">
                <a16:creationId xmlns:a16="http://schemas.microsoft.com/office/drawing/2014/main" id="{3E3FADC5-ACAC-FD49-8695-18187F873979}"/>
              </a:ext>
            </a:extLst>
          </p:cNvPr>
          <p:cNvSpPr/>
          <p:nvPr/>
        </p:nvSpPr>
        <p:spPr>
          <a:xfrm>
            <a:off x="9413939" y="4369452"/>
            <a:ext cx="2358960" cy="913953"/>
          </a:xfrm>
          <a:prstGeom prst="chevron">
            <a:avLst>
              <a:gd name="adj" fmla="val 22382"/>
            </a:avLst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72000" rIns="72000" bIns="72000" numCol="1" spcCol="1270" anchor="ctr" anchorCtr="0">
            <a:noAutofit/>
          </a:bodyPr>
          <a:lstStyle/>
          <a:p>
            <a:pPr lvl="0" defTabSz="400050">
              <a:spcBef>
                <a:spcPct val="0"/>
              </a:spcBef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fterca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8B38C8C-3FFA-6C41-9721-EA35E9AF7A4E}"/>
              </a:ext>
            </a:extLst>
          </p:cNvPr>
          <p:cNvSpPr txBox="1"/>
          <p:nvPr/>
        </p:nvSpPr>
        <p:spPr>
          <a:xfrm>
            <a:off x="415923" y="5540433"/>
            <a:ext cx="1115586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Zero-emission business transformation partnership – </a:t>
            </a:r>
            <a:r>
              <a:rPr lang="en-US" i="1" dirty="0">
                <a:latin typeface="Arial" panose="020B0604020202020204" pitchFamily="34" charset="0"/>
                <a:cs typeface="Arial" panose="020B0604020202020204" pitchFamily="34" charset="0"/>
              </a:rPr>
              <a:t>360 support services, for a seamless transition to the future of net zero.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EBD93FB-C297-374E-BB7D-238CEFE1BEA9}"/>
              </a:ext>
            </a:extLst>
          </p:cNvPr>
          <p:cNvSpPr txBox="1"/>
          <p:nvPr/>
        </p:nvSpPr>
        <p:spPr>
          <a:xfrm>
            <a:off x="498021" y="1195952"/>
            <a:ext cx="1117443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 to End Solution</a:t>
            </a:r>
          </a:p>
        </p:txBody>
      </p:sp>
      <p:pic>
        <p:nvPicPr>
          <p:cNvPr id="23" name="Picture 22" descr="Icon&#10;&#10;Description automatically generated">
            <a:extLst>
              <a:ext uri="{FF2B5EF4-FFF2-40B4-BE49-F238E27FC236}">
                <a16:creationId xmlns:a16="http://schemas.microsoft.com/office/drawing/2014/main" id="{8A0345D5-EAD4-6547-8649-57FCB8F4AFE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2632" y="3456004"/>
            <a:ext cx="1395989" cy="1276333"/>
          </a:xfrm>
          <a:prstGeom prst="rect">
            <a:avLst/>
          </a:prstGeom>
        </p:spPr>
      </p:pic>
      <p:pic>
        <p:nvPicPr>
          <p:cNvPr id="25" name="Picture 24" descr="Icon&#10;&#10;Description automatically generated">
            <a:extLst>
              <a:ext uri="{FF2B5EF4-FFF2-40B4-BE49-F238E27FC236}">
                <a16:creationId xmlns:a16="http://schemas.microsoft.com/office/drawing/2014/main" id="{929C5462-8B40-E943-9B83-F2FC37DF653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4438" y="3447501"/>
            <a:ext cx="1395989" cy="1286626"/>
          </a:xfrm>
          <a:prstGeom prst="rect">
            <a:avLst/>
          </a:prstGeom>
        </p:spPr>
      </p:pic>
      <p:pic>
        <p:nvPicPr>
          <p:cNvPr id="29" name="Picture 28" descr="Logo, icon&#10;&#10;Description automatically generated">
            <a:extLst>
              <a:ext uri="{FF2B5EF4-FFF2-40B4-BE49-F238E27FC236}">
                <a16:creationId xmlns:a16="http://schemas.microsoft.com/office/drawing/2014/main" id="{4899DC78-BBF0-FC4C-B121-64D0A1ADBE4B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0587" y="3499218"/>
            <a:ext cx="1286625" cy="1286625"/>
          </a:xfrm>
          <a:prstGeom prst="rect">
            <a:avLst/>
          </a:prstGeom>
        </p:spPr>
      </p:pic>
      <p:pic>
        <p:nvPicPr>
          <p:cNvPr id="31" name="Picture 30" descr="Logo, icon&#10;&#10;Description automatically generated">
            <a:extLst>
              <a:ext uri="{FF2B5EF4-FFF2-40B4-BE49-F238E27FC236}">
                <a16:creationId xmlns:a16="http://schemas.microsoft.com/office/drawing/2014/main" id="{9F050805-BE1B-3849-A18A-8E3091B03A7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98086" y="3364823"/>
            <a:ext cx="1363831" cy="1363831"/>
          </a:xfrm>
          <a:prstGeom prst="rect">
            <a:avLst/>
          </a:prstGeom>
        </p:spPr>
      </p:pic>
      <p:pic>
        <p:nvPicPr>
          <p:cNvPr id="34" name="Picture 33" descr="Icon&#10;&#10;Description automatically generated">
            <a:extLst>
              <a:ext uri="{FF2B5EF4-FFF2-40B4-BE49-F238E27FC236}">
                <a16:creationId xmlns:a16="http://schemas.microsoft.com/office/drawing/2014/main" id="{D64E13B7-8EDB-1144-A530-BE26C76A12D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470093" y="324781"/>
            <a:ext cx="2501379" cy="897734"/>
          </a:xfrm>
          <a:prstGeom prst="rect">
            <a:avLst/>
          </a:prstGeom>
        </p:spPr>
      </p:pic>
      <p:pic>
        <p:nvPicPr>
          <p:cNvPr id="36" name="Picture 35" descr="Icon&#10;&#10;Description automatically generated">
            <a:extLst>
              <a:ext uri="{FF2B5EF4-FFF2-40B4-BE49-F238E27FC236}">
                <a16:creationId xmlns:a16="http://schemas.microsoft.com/office/drawing/2014/main" id="{94281D65-B5D2-2E4D-9B4D-B25CD47E5684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8655" y="3532097"/>
            <a:ext cx="1363831" cy="1037875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00DDC59D-5D5C-7F48-8639-D4900A45B54A}"/>
              </a:ext>
            </a:extLst>
          </p:cNvPr>
          <p:cNvSpPr txBox="1"/>
          <p:nvPr/>
        </p:nvSpPr>
        <p:spPr>
          <a:xfrm>
            <a:off x="619760" y="250428"/>
            <a:ext cx="51964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Overview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672CF1EE-99F5-DE42-B431-0EDBD0E99098}"/>
              </a:ext>
            </a:extLst>
          </p:cNvPr>
          <p:cNvCxnSpPr/>
          <p:nvPr/>
        </p:nvCxnSpPr>
        <p:spPr>
          <a:xfrm>
            <a:off x="699273" y="952052"/>
            <a:ext cx="1046480" cy="0"/>
          </a:xfrm>
          <a:prstGeom prst="line">
            <a:avLst/>
          </a:prstGeom>
          <a:ln>
            <a:solidFill>
              <a:srgbClr val="2FD03D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42" name="Footer Placeholder 41">
            <a:extLst>
              <a:ext uri="{FF2B5EF4-FFF2-40B4-BE49-F238E27FC236}">
                <a16:creationId xmlns:a16="http://schemas.microsoft.com/office/drawing/2014/main" id="{A06A7C65-0B28-D244-9005-BF73FB6B28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/>
              <a:t>www.wrightbus.com</a:t>
            </a:r>
            <a:endParaRPr lang="en-US" dirty="0"/>
          </a:p>
        </p:txBody>
      </p:sp>
      <p:sp>
        <p:nvSpPr>
          <p:cNvPr id="43" name="Slide Number Placeholder 42">
            <a:extLst>
              <a:ext uri="{FF2B5EF4-FFF2-40B4-BE49-F238E27FC236}">
                <a16:creationId xmlns:a16="http://schemas.microsoft.com/office/drawing/2014/main" id="{6FE36DE4-222F-2547-8FEC-6F368F2091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3983F-CF44-6144-9232-74BD3EAC5094}" type="slidenum">
              <a:rPr lang="en-US" smtClean="0">
                <a:solidFill>
                  <a:schemeClr val="bg1"/>
                </a:solidFill>
              </a:rPr>
              <a:t>13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36117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ouble decker buses on the road&#10;&#10;Description automatically generated with medium confidence">
            <a:extLst>
              <a:ext uri="{FF2B5EF4-FFF2-40B4-BE49-F238E27FC236}">
                <a16:creationId xmlns:a16="http://schemas.microsoft.com/office/drawing/2014/main" id="{1205050A-9FA7-E243-9B79-6E77F3FDC07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98474" y="-98474"/>
            <a:ext cx="12421772" cy="697054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2216ED7-0A72-D441-9C79-52BA3C590FFA}"/>
              </a:ext>
            </a:extLst>
          </p:cNvPr>
          <p:cNvSpPr txBox="1"/>
          <p:nvPr/>
        </p:nvSpPr>
        <p:spPr>
          <a:xfrm>
            <a:off x="509665" y="1484026"/>
            <a:ext cx="758502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 err="1">
                <a:solidFill>
                  <a:schemeClr val="bg1"/>
                </a:solidFill>
                <a:latin typeface="Monument Extended" pitchFamily="2" charset="77"/>
                <a:cs typeface="Arial" panose="020B0604020202020204" pitchFamily="34" charset="0"/>
              </a:rPr>
              <a:t>Wrightbus</a:t>
            </a:r>
            <a:endParaRPr lang="en-US" sz="4400" b="1" dirty="0">
              <a:solidFill>
                <a:schemeClr val="bg1"/>
              </a:solidFill>
              <a:latin typeface="Monument Extended" pitchFamily="2" charset="77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F3158CA-2F01-D241-98C6-47498FF34CE6}"/>
              </a:ext>
            </a:extLst>
          </p:cNvPr>
          <p:cNvSpPr txBox="1"/>
          <p:nvPr/>
        </p:nvSpPr>
        <p:spPr>
          <a:xfrm>
            <a:off x="509665" y="2499689"/>
            <a:ext cx="748094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.</a:t>
            </a:r>
          </a:p>
          <a:p>
            <a:endParaRPr lang="en-US" sz="3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m.Greenshields@wrightbus.com</a:t>
            </a:r>
          </a:p>
          <a:p>
            <a:endParaRPr lang="en-US" sz="3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7747721972</a:t>
            </a:r>
          </a:p>
        </p:txBody>
      </p:sp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43EDC31A-C3AD-7D46-8DDE-23B1F5D793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27890" y="281877"/>
            <a:ext cx="2501379" cy="897734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CCD685E-CCD1-0342-9577-EDFDB15046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www.wrightbus.co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069852-74D5-C24D-9171-9C4EA6E745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3983F-CF44-6144-9232-74BD3EAC5094}" type="slidenum">
              <a:rPr lang="en-US" smtClean="0">
                <a:solidFill>
                  <a:schemeClr val="bg1"/>
                </a:solidFill>
              </a:rPr>
              <a:t>14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66447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double decker bus on the street&#10;&#10;Description automatically generated with medium confidence">
            <a:extLst>
              <a:ext uri="{FF2B5EF4-FFF2-40B4-BE49-F238E27FC236}">
                <a16:creationId xmlns:a16="http://schemas.microsoft.com/office/drawing/2014/main" id="{CAAA5FAF-E8F4-2D49-961E-8DD342A272A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83"/>
          <a:stretch/>
        </p:blipFill>
        <p:spPr>
          <a:xfrm>
            <a:off x="6842391" y="2107222"/>
            <a:ext cx="5455954" cy="2643555"/>
          </a:xfrm>
          <a:prstGeom prst="rect">
            <a:avLst/>
          </a:prstGeom>
        </p:spPr>
      </p:pic>
      <p:pic>
        <p:nvPicPr>
          <p:cNvPr id="8" name="Picture 7" descr="A bus parked on the side of the road&#10;&#10;Description automatically generated with medium confidence">
            <a:extLst>
              <a:ext uri="{FF2B5EF4-FFF2-40B4-BE49-F238E27FC236}">
                <a16:creationId xmlns:a16="http://schemas.microsoft.com/office/drawing/2014/main" id="{1AB8D293-AB70-6347-B839-0B8AE8ADEEA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88028" y="0"/>
            <a:ext cx="5349609" cy="230701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E5F6062-68C8-1E46-A52E-E969B6DC39D2}"/>
              </a:ext>
            </a:extLst>
          </p:cNvPr>
          <p:cNvSpPr txBox="1"/>
          <p:nvPr/>
        </p:nvSpPr>
        <p:spPr>
          <a:xfrm>
            <a:off x="467360" y="336223"/>
            <a:ext cx="53488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Business Overview</a:t>
            </a:r>
          </a:p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Feb 2022</a:t>
            </a:r>
          </a:p>
        </p:txBody>
      </p:sp>
      <p:pic>
        <p:nvPicPr>
          <p:cNvPr id="2050" name="Picture 2" descr="page30image24161344">
            <a:extLst>
              <a:ext uri="{FF2B5EF4-FFF2-40B4-BE49-F238E27FC236}">
                <a16:creationId xmlns:a16="http://schemas.microsoft.com/office/drawing/2014/main" id="{F9158307-08A3-8542-90CF-F199C07292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342" y="1445752"/>
            <a:ext cx="7020558" cy="861276"/>
          </a:xfrm>
          <a:prstGeom prst="rect">
            <a:avLst/>
          </a:prstGeom>
          <a:solidFill>
            <a:srgbClr val="2FD03D"/>
          </a:solidFill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01104C0-4ACC-9946-BB8A-BC920A898448}"/>
              </a:ext>
            </a:extLst>
          </p:cNvPr>
          <p:cNvCxnSpPr/>
          <p:nvPr/>
        </p:nvCxnSpPr>
        <p:spPr>
          <a:xfrm>
            <a:off x="539342" y="1058227"/>
            <a:ext cx="1046480" cy="0"/>
          </a:xfrm>
          <a:prstGeom prst="line">
            <a:avLst/>
          </a:prstGeom>
          <a:ln>
            <a:solidFill>
              <a:srgbClr val="2FD03D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774A9DA-F281-3244-A2DB-C27823EB1DC1}"/>
              </a:ext>
            </a:extLst>
          </p:cNvPr>
          <p:cNvCxnSpPr/>
          <p:nvPr/>
        </p:nvCxnSpPr>
        <p:spPr>
          <a:xfrm>
            <a:off x="6096000" y="5246132"/>
            <a:ext cx="0" cy="136144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pic>
        <p:nvPicPr>
          <p:cNvPr id="34" name="Picture 33" descr="Icon&#10;&#10;Description automatically generated">
            <a:extLst>
              <a:ext uri="{FF2B5EF4-FFF2-40B4-BE49-F238E27FC236}">
                <a16:creationId xmlns:a16="http://schemas.microsoft.com/office/drawing/2014/main" id="{11ACBB53-31BA-EB4D-9FB2-ADA5CFA3113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17195" y="278090"/>
            <a:ext cx="2501379" cy="89773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37E8B32-3D55-A14B-B487-D7667510CFC1}"/>
              </a:ext>
            </a:extLst>
          </p:cNvPr>
          <p:cNvSpPr txBox="1"/>
          <p:nvPr/>
        </p:nvSpPr>
        <p:spPr>
          <a:xfrm>
            <a:off x="467360" y="2592873"/>
            <a:ext cx="6358672" cy="513986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400"/>
              </a:spcBef>
              <a:buClr>
                <a:schemeClr val="tx1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A leading industry innovator of low emission diesel, hybrid, zero-emission hydrogen and electric buses as well as the iconic new </a:t>
            </a:r>
            <a:r>
              <a:rPr lang="en-GB" sz="1600" dirty="0" err="1">
                <a:latin typeface="Arial" panose="020B0604020202020204" pitchFamily="34" charset="0"/>
                <a:cs typeface="Arial" panose="020B0604020202020204" pitchFamily="34" charset="0"/>
              </a:rPr>
              <a:t>Routemaster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for London</a:t>
            </a:r>
          </a:p>
          <a:p>
            <a:pPr marL="285750" indent="-285750">
              <a:spcBef>
                <a:spcPts val="400"/>
              </a:spcBef>
              <a:buClr>
                <a:schemeClr val="tx1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Transitioned from body only to complete manufacturer during 2007 to 2013 across the range</a:t>
            </a:r>
          </a:p>
          <a:p>
            <a:pPr marL="285750" indent="-285750">
              <a:spcBef>
                <a:spcPts val="400"/>
              </a:spcBef>
              <a:buClr>
                <a:schemeClr val="tx1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Relocated to a new 90 acre site (the old JTI facility) in 2018/2019 remaining in Ballymena</a:t>
            </a:r>
          </a:p>
          <a:p>
            <a:pPr marL="285750" indent="-285750">
              <a:spcBef>
                <a:spcPts val="400"/>
              </a:spcBef>
              <a:buClr>
                <a:schemeClr val="tx1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Future proofing capability and capacity</a:t>
            </a:r>
          </a:p>
          <a:p>
            <a:pPr marL="285750" indent="-285750">
              <a:spcBef>
                <a:spcPts val="400"/>
              </a:spcBef>
              <a:buClr>
                <a:schemeClr val="tx1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Business went into administration in 2019</a:t>
            </a:r>
          </a:p>
          <a:p>
            <a:pPr marL="285750" indent="-285750">
              <a:spcBef>
                <a:spcPts val="400"/>
              </a:spcBef>
              <a:buClr>
                <a:schemeClr val="tx1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Jo Bamford purchased the business in October 2019</a:t>
            </a:r>
          </a:p>
          <a:p>
            <a:pPr marL="285750" indent="-285750">
              <a:spcBef>
                <a:spcPts val="400"/>
              </a:spcBef>
              <a:buClr>
                <a:schemeClr val="tx1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Launched the world’s first hydrogen double deck vehicle October 2020</a:t>
            </a:r>
          </a:p>
          <a:p>
            <a:pPr marL="285750" indent="-285750">
              <a:spcBef>
                <a:spcPts val="400"/>
              </a:spcBef>
              <a:buClr>
                <a:schemeClr val="tx1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400"/>
              </a:spcBef>
              <a:buClr>
                <a:schemeClr val="tx1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400"/>
              </a:spcBef>
              <a:buClr>
                <a:schemeClr val="tx1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400"/>
              </a:spcBef>
              <a:buClr>
                <a:schemeClr val="tx1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400"/>
              </a:spcBef>
              <a:buClr>
                <a:schemeClr val="tx1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400"/>
              </a:spcBef>
              <a:buClr>
                <a:schemeClr val="tx1">
                  <a:lumMod val="75000"/>
                  <a:lumOff val="25000"/>
                </a:schemeClr>
              </a:buClr>
              <a:buFont typeface="Courier New" panose="02070309020205020404" pitchFamily="49" charset="0"/>
              <a:buChar char="o"/>
            </a:pPr>
            <a:endParaRPr lang="en-GB" sz="16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D1CB462-C5D0-3041-BC50-9292755EAAB3}"/>
              </a:ext>
            </a:extLst>
          </p:cNvPr>
          <p:cNvSpPr txBox="1"/>
          <p:nvPr/>
        </p:nvSpPr>
        <p:spPr>
          <a:xfrm>
            <a:off x="708338" y="1645558"/>
            <a:ext cx="7443989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5 Years of British Engineering Heritage</a:t>
            </a:r>
          </a:p>
        </p:txBody>
      </p:sp>
      <p:pic>
        <p:nvPicPr>
          <p:cNvPr id="12" name="Picture 11" descr="A double decker bus parked in front of a large building&#10;&#10;Description automatically generated with medium confidence">
            <a:extLst>
              <a:ext uri="{FF2B5EF4-FFF2-40B4-BE49-F238E27FC236}">
                <a16:creationId xmlns:a16="http://schemas.microsoft.com/office/drawing/2014/main" id="{59F796EF-C88D-5040-B062-2F68B92EC6C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17"/>
          <a:stretch/>
        </p:blipFill>
        <p:spPr>
          <a:xfrm>
            <a:off x="6875545" y="4649273"/>
            <a:ext cx="5422800" cy="2448752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8741E65-723A-E640-8ECA-209601A134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3983F-CF44-6144-9232-74BD3EAC509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06969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B144C6-0CA4-BC43-ACFF-7DEA4E5119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422412-1C5A-8C41-9AA3-062B71481B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 descr="A picture containing sky, grass, outdoor, way&#10;&#10;Description automatically generated">
            <a:extLst>
              <a:ext uri="{FF2B5EF4-FFF2-40B4-BE49-F238E27FC236}">
                <a16:creationId xmlns:a16="http://schemas.microsoft.com/office/drawing/2014/main" id="{1D67B80E-3369-5445-B279-51896F159EA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3068" y="0"/>
            <a:ext cx="12188932" cy="6857990"/>
          </a:xfrm>
          <a:prstGeom prst="rect">
            <a:avLst/>
          </a:prstGeom>
          <a:effectLst>
            <a:outerShdw blurRad="50800" dist="50800" algn="ctr" rotWithShape="0">
              <a:srgbClr val="000000">
                <a:alpha val="43137"/>
              </a:srgbClr>
            </a:outerShdw>
          </a:effectLst>
        </p:spPr>
      </p:pic>
      <p:pic>
        <p:nvPicPr>
          <p:cNvPr id="5" name="Picture 4" descr="Icon&#10;&#10;Description automatically generated">
            <a:extLst>
              <a:ext uri="{FF2B5EF4-FFF2-40B4-BE49-F238E27FC236}">
                <a16:creationId xmlns:a16="http://schemas.microsoft.com/office/drawing/2014/main" id="{1F6185A1-12A4-C747-AF5B-BC57017B8A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70093" y="324781"/>
            <a:ext cx="2501379" cy="897734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7E323036-256E-A44D-BB58-D718B48D3FE7}"/>
              </a:ext>
            </a:extLst>
          </p:cNvPr>
          <p:cNvSpPr txBox="1">
            <a:spLocks/>
          </p:cNvSpPr>
          <p:nvPr/>
        </p:nvSpPr>
        <p:spPr>
          <a:xfrm>
            <a:off x="618062" y="4185749"/>
            <a:ext cx="10762701" cy="62283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40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rightbus</a:t>
            </a:r>
            <a:r>
              <a:rPr lang="en-US" sz="4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ory So Far…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A87079B-D782-9343-B291-9AFDB389382D}"/>
              </a:ext>
            </a:extLst>
          </p:cNvPr>
          <p:cNvSpPr txBox="1"/>
          <p:nvPr/>
        </p:nvSpPr>
        <p:spPr>
          <a:xfrm>
            <a:off x="717452" y="5154996"/>
            <a:ext cx="84828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ce it’s inception in 1946, </a:t>
            </a:r>
            <a:r>
              <a:rPr lang="en-US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rightbus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as cultivated a rich history and brand name recognized synonymously with manufacturing quality and innovation.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7D9A436-10F1-7A47-8EA4-692929A03E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www.wrightbus.com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F3538C1-5A65-7E4F-AD62-90F21DBF36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3983F-CF44-6144-9232-74BD3EAC5094}" type="slidenum">
              <a:rPr lang="en-US" smtClean="0">
                <a:solidFill>
                  <a:schemeClr val="bg1"/>
                </a:solidFill>
              </a:rPr>
              <a:t>3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79828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green double decker bus&#10;&#10;Description automatically generated with medium confidence">
            <a:extLst>
              <a:ext uri="{FF2B5EF4-FFF2-40B4-BE49-F238E27FC236}">
                <a16:creationId xmlns:a16="http://schemas.microsoft.com/office/drawing/2014/main" id="{969B6DCB-D4B1-1C44-BC5E-4E549549870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5694" t="26894" b="15287"/>
          <a:stretch/>
        </p:blipFill>
        <p:spPr>
          <a:xfrm>
            <a:off x="0" y="-33892"/>
            <a:ext cx="12371780" cy="6959127"/>
          </a:xfrm>
          <a:prstGeom prst="rect">
            <a:avLst/>
          </a:prstGeom>
        </p:spPr>
      </p:pic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7E766E8C-4DEB-BA48-82AA-C2B0746E0E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70093" y="324781"/>
            <a:ext cx="2501379" cy="897734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61F04DA9-5668-BD4D-A9B0-6DFFDDDD751D}"/>
              </a:ext>
            </a:extLst>
          </p:cNvPr>
          <p:cNvSpPr txBox="1">
            <a:spLocks/>
          </p:cNvSpPr>
          <p:nvPr/>
        </p:nvSpPr>
        <p:spPr>
          <a:xfrm>
            <a:off x="493130" y="3445671"/>
            <a:ext cx="11410989" cy="62283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4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rehensive Zero Emission Product Offer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3047DE8-954A-1D42-897C-E40485694454}"/>
              </a:ext>
            </a:extLst>
          </p:cNvPr>
          <p:cNvSpPr txBox="1"/>
          <p:nvPr/>
        </p:nvSpPr>
        <p:spPr>
          <a:xfrm>
            <a:off x="4460555" y="4508758"/>
            <a:ext cx="74435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 mover advantage in FCEV technology, combined with a reputation for product quality has positioned </a:t>
            </a:r>
            <a:r>
              <a:rPr lang="en-US" sz="12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rightbus</a:t>
            </a:r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t the </a:t>
            </a:r>
            <a:r>
              <a:rPr lang="en-US" sz="12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e</a:t>
            </a:r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a rapidly developing market and ability to grow globally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749DE0F-0660-EB4F-AC50-5FC0413914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3983F-CF44-6144-9232-74BD3EAC5094}" type="slidenum">
              <a:rPr lang="en-US" smtClean="0">
                <a:solidFill>
                  <a:schemeClr val="bg1"/>
                </a:solidFill>
              </a:rPr>
              <a:t>4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65209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A picture containing decorated, trailer&#10;&#10;Description automatically generated">
            <a:extLst>
              <a:ext uri="{FF2B5EF4-FFF2-40B4-BE49-F238E27FC236}">
                <a16:creationId xmlns:a16="http://schemas.microsoft.com/office/drawing/2014/main" id="{537A1F55-1447-D448-8210-B7EBB53F20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95609" y="4413310"/>
            <a:ext cx="2950241" cy="119728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7470E84-38D1-C34B-8BA6-2C8CE4D7E9C9}"/>
              </a:ext>
            </a:extLst>
          </p:cNvPr>
          <p:cNvSpPr txBox="1"/>
          <p:nvPr/>
        </p:nvSpPr>
        <p:spPr>
          <a:xfrm>
            <a:off x="619760" y="250428"/>
            <a:ext cx="51964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Business Overview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33A9ACD-38B2-8D47-867A-C94E7610FD3B}"/>
              </a:ext>
            </a:extLst>
          </p:cNvPr>
          <p:cNvCxnSpPr/>
          <p:nvPr/>
        </p:nvCxnSpPr>
        <p:spPr>
          <a:xfrm>
            <a:off x="699273" y="991809"/>
            <a:ext cx="1046480" cy="0"/>
          </a:xfrm>
          <a:prstGeom prst="line">
            <a:avLst/>
          </a:prstGeom>
          <a:ln>
            <a:solidFill>
              <a:srgbClr val="2FD03D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C208D396-71B8-3042-8F12-305F36C0A28E}"/>
              </a:ext>
            </a:extLst>
          </p:cNvPr>
          <p:cNvSpPr txBox="1"/>
          <p:nvPr/>
        </p:nvSpPr>
        <p:spPr>
          <a:xfrm>
            <a:off x="1502373" y="2956819"/>
            <a:ext cx="2486047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dirty="0">
              <a:solidFill>
                <a:srgbClr val="2FD03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dirty="0" err="1">
                <a:solidFill>
                  <a:srgbClr val="2FD03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ydroliner</a:t>
            </a:r>
            <a:r>
              <a:rPr lang="en-GB" dirty="0">
                <a:solidFill>
                  <a:srgbClr val="2FD03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CEV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The world’s first hydrogen double deck bus.</a:t>
            </a: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000" dirty="0">
                <a:latin typeface="Arial" panose="020B0604020202020204" pitchFamily="34" charset="0"/>
                <a:cs typeface="Arial" panose="020B0604020202020204" pitchFamily="34" charset="0"/>
              </a:rPr>
              <a:t>Developed as part of the JIVE (Joint Initiative for Hydrogen Vehicles across Europe). Equipped with a Hydrogen Fuel Cell power train, its battery pack can store up to 48KWh and allows the bus to travel up to 300 miles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2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A56FAE-9B8E-2B4B-864D-B5623279A842}"/>
              </a:ext>
            </a:extLst>
          </p:cNvPr>
          <p:cNvSpPr txBox="1"/>
          <p:nvPr/>
        </p:nvSpPr>
        <p:spPr>
          <a:xfrm>
            <a:off x="362608" y="1387859"/>
            <a:ext cx="778164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rehensive Product Offering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2795DC3-16DA-5347-961A-73A801AE4B72}"/>
              </a:ext>
            </a:extLst>
          </p:cNvPr>
          <p:cNvSpPr txBox="1"/>
          <p:nvPr/>
        </p:nvSpPr>
        <p:spPr>
          <a:xfrm>
            <a:off x="470515" y="2095745"/>
            <a:ext cx="74435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First mover advantage in FCEV technology, combined with a reputation for product quality has positioned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Wrightbus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at the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centre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of a rapidly developing market and ability to grow globally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BA8E7EC-8E3E-AC47-A6A8-7D37EADBCFEC}"/>
              </a:ext>
            </a:extLst>
          </p:cNvPr>
          <p:cNvSpPr txBox="1"/>
          <p:nvPr/>
        </p:nvSpPr>
        <p:spPr>
          <a:xfrm>
            <a:off x="4784269" y="3189818"/>
            <a:ext cx="286902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err="1">
                <a:solidFill>
                  <a:srgbClr val="00BFD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ctoliner</a:t>
            </a:r>
            <a:r>
              <a:rPr lang="en-GB" dirty="0">
                <a:solidFill>
                  <a:srgbClr val="00BFD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EV</a:t>
            </a:r>
          </a:p>
          <a:p>
            <a:endParaRPr lang="en-GB" sz="2400" dirty="0">
              <a:solidFill>
                <a:srgbClr val="2FD03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200" dirty="0"/>
          </a:p>
        </p:txBody>
      </p:sp>
      <p:pic>
        <p:nvPicPr>
          <p:cNvPr id="16" name="Picture 15" descr="A green double decker bus&#10;&#10;Description automatically generated with medium confidence">
            <a:extLst>
              <a:ext uri="{FF2B5EF4-FFF2-40B4-BE49-F238E27FC236}">
                <a16:creationId xmlns:a16="http://schemas.microsoft.com/office/drawing/2014/main" id="{B16BD1A6-CFF5-384C-B9AD-0A3595744EB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4329" t="3497" r="28559"/>
          <a:stretch/>
        </p:blipFill>
        <p:spPr>
          <a:xfrm>
            <a:off x="9459607" y="-15766"/>
            <a:ext cx="3088995" cy="6878384"/>
          </a:xfrm>
          <a:prstGeom prst="rect">
            <a:avLst/>
          </a:prstGeom>
        </p:spPr>
      </p:pic>
      <p:pic>
        <p:nvPicPr>
          <p:cNvPr id="18" name="Picture 17" descr="A picture containing road, truck, green, toy&#10;&#10;Description automatically generated">
            <a:extLst>
              <a:ext uri="{FF2B5EF4-FFF2-40B4-BE49-F238E27FC236}">
                <a16:creationId xmlns:a16="http://schemas.microsoft.com/office/drawing/2014/main" id="{6F11421C-DCA0-2547-BBC4-89D5B1538E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04984" y="4421014"/>
            <a:ext cx="2486047" cy="984661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B041404C-5846-064E-8419-7156BAB56037}"/>
              </a:ext>
            </a:extLst>
          </p:cNvPr>
          <p:cNvSpPr txBox="1"/>
          <p:nvPr/>
        </p:nvSpPr>
        <p:spPr>
          <a:xfrm>
            <a:off x="4770014" y="3225535"/>
            <a:ext cx="2392985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sz="2400" dirty="0">
              <a:solidFill>
                <a:srgbClr val="2FD03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Inspiring the next wave of electric transport</a:t>
            </a: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000" dirty="0">
                <a:latin typeface="Arial" panose="020B0604020202020204" pitchFamily="34" charset="0"/>
                <a:cs typeface="Arial" panose="020B0604020202020204" pitchFamily="34" charset="0"/>
              </a:rPr>
              <a:t>Features including modern passenger focused amenities, best in class range and charge time. The Street Deck </a:t>
            </a:r>
            <a:r>
              <a:rPr lang="en-GB" sz="1000" dirty="0" err="1">
                <a:latin typeface="Arial" panose="020B0604020202020204" pitchFamily="34" charset="0"/>
                <a:cs typeface="Arial" panose="020B0604020202020204" pitchFamily="34" charset="0"/>
              </a:rPr>
              <a:t>Electroliner’s</a:t>
            </a:r>
            <a:r>
              <a:rPr lang="en-GB" sz="1000" dirty="0">
                <a:latin typeface="Arial" panose="020B0604020202020204" pitchFamily="34" charset="0"/>
                <a:cs typeface="Arial" panose="020B0604020202020204" pitchFamily="34" charset="0"/>
              </a:rPr>
              <a:t> max power from a 454kW zero emission battery electric powertrain is the highest battery capacity for a UK double deck bus.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200" dirty="0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E138AB5-9382-654E-AE6F-00CD00288E53}"/>
              </a:ext>
            </a:extLst>
          </p:cNvPr>
          <p:cNvCxnSpPr>
            <a:cxnSpLocks/>
          </p:cNvCxnSpPr>
          <p:nvPr/>
        </p:nvCxnSpPr>
        <p:spPr>
          <a:xfrm>
            <a:off x="4295609" y="3880149"/>
            <a:ext cx="0" cy="276526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4BDAEFA-6F0A-7C40-94EA-54A2E83056C2}"/>
              </a:ext>
            </a:extLst>
          </p:cNvPr>
          <p:cNvCxnSpPr>
            <a:cxnSpLocks/>
          </p:cNvCxnSpPr>
          <p:nvPr/>
        </p:nvCxnSpPr>
        <p:spPr>
          <a:xfrm>
            <a:off x="7415798" y="3864883"/>
            <a:ext cx="0" cy="276526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FC18358D-855B-A243-B08C-74139DA24BE9}"/>
              </a:ext>
            </a:extLst>
          </p:cNvPr>
          <p:cNvSpPr txBox="1"/>
          <p:nvPr/>
        </p:nvSpPr>
        <p:spPr>
          <a:xfrm>
            <a:off x="470515" y="2648953"/>
            <a:ext cx="49917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Streetdeck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" name="Picture 19" descr="Icon&#10;&#10;Description automatically generated">
            <a:extLst>
              <a:ext uri="{FF2B5EF4-FFF2-40B4-BE49-F238E27FC236}">
                <a16:creationId xmlns:a16="http://schemas.microsoft.com/office/drawing/2014/main" id="{05B3B023-D0A6-7C47-91EC-BC498D8F7D6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753414" y="490125"/>
            <a:ext cx="2501379" cy="897734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5129CB3-68F4-A74A-AEEC-F2BEED861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3983F-CF44-6144-9232-74BD3EAC5094}" type="slidenum">
              <a:rPr lang="en-US" smtClean="0">
                <a:solidFill>
                  <a:schemeClr val="bg1"/>
                </a:solidFill>
              </a:rPr>
              <a:t>5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31749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27470E84-38D1-C34B-8BA6-2C8CE4D7E9C9}"/>
              </a:ext>
            </a:extLst>
          </p:cNvPr>
          <p:cNvSpPr txBox="1"/>
          <p:nvPr/>
        </p:nvSpPr>
        <p:spPr>
          <a:xfrm>
            <a:off x="619760" y="250428"/>
            <a:ext cx="51964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Business Overview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33A9ACD-38B2-8D47-867A-C94E7610FD3B}"/>
              </a:ext>
            </a:extLst>
          </p:cNvPr>
          <p:cNvCxnSpPr/>
          <p:nvPr/>
        </p:nvCxnSpPr>
        <p:spPr>
          <a:xfrm>
            <a:off x="659516" y="978556"/>
            <a:ext cx="1046480" cy="0"/>
          </a:xfrm>
          <a:prstGeom prst="line">
            <a:avLst/>
          </a:prstGeom>
          <a:ln>
            <a:solidFill>
              <a:srgbClr val="2FD03D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C208D396-71B8-3042-8F12-305F36C0A28E}"/>
              </a:ext>
            </a:extLst>
          </p:cNvPr>
          <p:cNvSpPr txBox="1"/>
          <p:nvPr/>
        </p:nvSpPr>
        <p:spPr>
          <a:xfrm>
            <a:off x="839236" y="3699702"/>
            <a:ext cx="2975287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Single deck, zero emission hydrogen bus</a:t>
            </a: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000" dirty="0">
                <a:latin typeface="Arial" panose="020B0604020202020204" pitchFamily="34" charset="0"/>
                <a:cs typeface="Arial" panose="020B0604020202020204" pitchFamily="34" charset="0"/>
              </a:rPr>
              <a:t>Including fast re-fuelling time, this hydrogen-powered bus has numerous attributes that make it the ideal vehicle for long-distance travel. The GB Kite has a range of up to 500 miles and can carry up to 90 passengers. </a:t>
            </a:r>
            <a:endParaRPr lang="en-US" sz="12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A56FAE-9B8E-2B4B-864D-B5623279A842}"/>
              </a:ext>
            </a:extLst>
          </p:cNvPr>
          <p:cNvSpPr txBox="1"/>
          <p:nvPr/>
        </p:nvSpPr>
        <p:spPr>
          <a:xfrm>
            <a:off x="362608" y="1387859"/>
            <a:ext cx="778164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rehensive Product Offering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2795DC3-16DA-5347-961A-73A801AE4B72}"/>
              </a:ext>
            </a:extLst>
          </p:cNvPr>
          <p:cNvSpPr txBox="1"/>
          <p:nvPr/>
        </p:nvSpPr>
        <p:spPr>
          <a:xfrm>
            <a:off x="470515" y="2095745"/>
            <a:ext cx="74435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First mover advantage in FCEV technology, combined with a reputation for product quality has positioned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Wrightbus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at the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centre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of a rapidly developing market and ability to grow globally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BA8E7EC-8E3E-AC47-A6A8-7D37EADBCFEC}"/>
              </a:ext>
            </a:extLst>
          </p:cNvPr>
          <p:cNvSpPr txBox="1"/>
          <p:nvPr/>
        </p:nvSpPr>
        <p:spPr>
          <a:xfrm>
            <a:off x="5401044" y="3263716"/>
            <a:ext cx="286902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rgbClr val="00BFD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B Kite </a:t>
            </a:r>
            <a:r>
              <a:rPr lang="en-GB" dirty="0" err="1">
                <a:solidFill>
                  <a:srgbClr val="00BFD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ctoliner</a:t>
            </a:r>
            <a:r>
              <a:rPr lang="en-GB" dirty="0">
                <a:solidFill>
                  <a:srgbClr val="00BFD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EV</a:t>
            </a:r>
          </a:p>
          <a:p>
            <a:endParaRPr lang="en-GB" sz="2400" dirty="0">
              <a:solidFill>
                <a:srgbClr val="2FD03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200" dirty="0"/>
          </a:p>
        </p:txBody>
      </p:sp>
      <p:pic>
        <p:nvPicPr>
          <p:cNvPr id="16" name="Picture 15" descr="A green double decker bus&#10;&#10;Description automatically generated with medium confidence">
            <a:extLst>
              <a:ext uri="{FF2B5EF4-FFF2-40B4-BE49-F238E27FC236}">
                <a16:creationId xmlns:a16="http://schemas.microsoft.com/office/drawing/2014/main" id="{B16BD1A6-CFF5-384C-B9AD-0A3595744EB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4329" t="3497" r="28559"/>
          <a:stretch/>
        </p:blipFill>
        <p:spPr>
          <a:xfrm>
            <a:off x="9459607" y="-15766"/>
            <a:ext cx="3088995" cy="687838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B041404C-5846-064E-8419-7156BAB56037}"/>
              </a:ext>
            </a:extLst>
          </p:cNvPr>
          <p:cNvSpPr txBox="1"/>
          <p:nvPr/>
        </p:nvSpPr>
        <p:spPr>
          <a:xfrm>
            <a:off x="5402081" y="3334342"/>
            <a:ext cx="2756587" cy="33547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sz="2400" dirty="0">
              <a:solidFill>
                <a:srgbClr val="2FD03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The face of environment friendly transportation</a:t>
            </a: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000" dirty="0">
                <a:latin typeface="Arial" panose="020B0604020202020204" pitchFamily="34" charset="0"/>
                <a:cs typeface="Arial" panose="020B0604020202020204" pitchFamily="34" charset="0"/>
              </a:rPr>
              <a:t>Cutting-edge features like a 2.5-hour charging time. The GB Kite </a:t>
            </a:r>
            <a:r>
              <a:rPr lang="en-GB" sz="1000" dirty="0" err="1">
                <a:latin typeface="Arial" panose="020B0604020202020204" pitchFamily="34" charset="0"/>
                <a:cs typeface="Arial" panose="020B0604020202020204" pitchFamily="34" charset="0"/>
              </a:rPr>
              <a:t>Electroliner</a:t>
            </a:r>
            <a:r>
              <a:rPr lang="en-GB" sz="1000" dirty="0">
                <a:latin typeface="Arial" panose="020B0604020202020204" pitchFamily="34" charset="0"/>
                <a:cs typeface="Arial" panose="020B0604020202020204" pitchFamily="34" charset="0"/>
              </a:rPr>
              <a:t> BEV has a range of up to 300 miles on a single charge, making it an excellent vehicle for intra-urban travel and a capacity of 90 passengers.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200" dirty="0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E138AB5-9382-654E-AE6F-00CD00288E53}"/>
              </a:ext>
            </a:extLst>
          </p:cNvPr>
          <p:cNvCxnSpPr>
            <a:cxnSpLocks/>
          </p:cNvCxnSpPr>
          <p:nvPr/>
        </p:nvCxnSpPr>
        <p:spPr>
          <a:xfrm>
            <a:off x="4587287" y="3779323"/>
            <a:ext cx="0" cy="276526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FC18358D-855B-A243-B08C-74139DA24BE9}"/>
              </a:ext>
            </a:extLst>
          </p:cNvPr>
          <p:cNvSpPr txBox="1"/>
          <p:nvPr/>
        </p:nvSpPr>
        <p:spPr>
          <a:xfrm>
            <a:off x="819750" y="2632773"/>
            <a:ext cx="49917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GB Kite</a:t>
            </a:r>
          </a:p>
        </p:txBody>
      </p:sp>
      <p:pic>
        <p:nvPicPr>
          <p:cNvPr id="20" name="Picture 19" descr="Icon&#10;&#10;Description automatically generated">
            <a:extLst>
              <a:ext uri="{FF2B5EF4-FFF2-40B4-BE49-F238E27FC236}">
                <a16:creationId xmlns:a16="http://schemas.microsoft.com/office/drawing/2014/main" id="{05B3B023-D0A6-7C47-91EC-BC498D8F7D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53414" y="490125"/>
            <a:ext cx="2501379" cy="89773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13B573E-D871-8747-B66A-BBDF6A0A5EA4}"/>
              </a:ext>
            </a:extLst>
          </p:cNvPr>
          <p:cNvSpPr txBox="1"/>
          <p:nvPr/>
        </p:nvSpPr>
        <p:spPr>
          <a:xfrm>
            <a:off x="819750" y="3203741"/>
            <a:ext cx="28055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rgbClr val="2FD03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B Kite </a:t>
            </a:r>
            <a:r>
              <a:rPr lang="en-GB" dirty="0" err="1">
                <a:solidFill>
                  <a:srgbClr val="2FD03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ydroliner</a:t>
            </a:r>
            <a:r>
              <a:rPr lang="en-GB" dirty="0">
                <a:solidFill>
                  <a:srgbClr val="2FD03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CEV</a:t>
            </a:r>
          </a:p>
          <a:p>
            <a:endParaRPr lang="en-US" dirty="0"/>
          </a:p>
        </p:txBody>
      </p:sp>
      <p:pic>
        <p:nvPicPr>
          <p:cNvPr id="9" name="Picture 8" descr="A picture containing text, road, sky, green&#10;&#10;Description automatically generated">
            <a:extLst>
              <a:ext uri="{FF2B5EF4-FFF2-40B4-BE49-F238E27FC236}">
                <a16:creationId xmlns:a16="http://schemas.microsoft.com/office/drawing/2014/main" id="{BDB008B9-AA44-C443-8781-7982B01713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1264" y="4439156"/>
            <a:ext cx="2619105" cy="1130853"/>
          </a:xfrm>
          <a:prstGeom prst="rect">
            <a:avLst/>
          </a:prstGeom>
        </p:spPr>
      </p:pic>
      <p:pic>
        <p:nvPicPr>
          <p:cNvPr id="14" name="Picture 13" descr="A white and green bus&#10;&#10;Description automatically generated with medium confidence">
            <a:extLst>
              <a:ext uri="{FF2B5EF4-FFF2-40B4-BE49-F238E27FC236}">
                <a16:creationId xmlns:a16="http://schemas.microsoft.com/office/drawing/2014/main" id="{3E250A7C-3C55-FC41-8D5B-16E898795D3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422" b="5962"/>
          <a:stretch/>
        </p:blipFill>
        <p:spPr>
          <a:xfrm>
            <a:off x="5526859" y="4456095"/>
            <a:ext cx="2743212" cy="1096974"/>
          </a:xfrm>
          <a:prstGeom prst="rect">
            <a:avLst/>
          </a:prstGeom>
        </p:spPr>
      </p:pic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91CF954-7EF2-DE4D-B32A-85FE17445C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3983F-CF44-6144-9232-74BD3EAC5094}" type="slidenum">
              <a:rPr lang="en-US" smtClean="0">
                <a:solidFill>
                  <a:schemeClr val="bg1"/>
                </a:solidFill>
              </a:rPr>
              <a:t>6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87026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604A3C8-B6CF-4C4D-B425-7C6FFA8C21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7568" y="333041"/>
            <a:ext cx="10515600" cy="1062622"/>
          </a:xfrm>
        </p:spPr>
        <p:txBody>
          <a:bodyPr/>
          <a:lstStyle/>
          <a:p>
            <a:r>
              <a:rPr lang="en-US" dirty="0"/>
              <a:t>Electroliner (Battery Electric)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F92513BA-3D7D-45FD-A268-987C215436F0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35947" y="1607806"/>
          <a:ext cx="11320106" cy="2708701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017522">
                  <a:extLst>
                    <a:ext uri="{9D8B030D-6E8A-4147-A177-3AD203B41FA5}">
                      <a16:colId xmlns:a16="http://schemas.microsoft.com/office/drawing/2014/main" val="725227163"/>
                    </a:ext>
                  </a:extLst>
                </a:gridCol>
                <a:gridCol w="1149100">
                  <a:extLst>
                    <a:ext uri="{9D8B030D-6E8A-4147-A177-3AD203B41FA5}">
                      <a16:colId xmlns:a16="http://schemas.microsoft.com/office/drawing/2014/main" val="3351133704"/>
                    </a:ext>
                  </a:extLst>
                </a:gridCol>
                <a:gridCol w="1258884">
                  <a:extLst>
                    <a:ext uri="{9D8B030D-6E8A-4147-A177-3AD203B41FA5}">
                      <a16:colId xmlns:a16="http://schemas.microsoft.com/office/drawing/2014/main" val="1083614562"/>
                    </a:ext>
                  </a:extLst>
                </a:gridCol>
                <a:gridCol w="1149100">
                  <a:extLst>
                    <a:ext uri="{9D8B030D-6E8A-4147-A177-3AD203B41FA5}">
                      <a16:colId xmlns:a16="http://schemas.microsoft.com/office/drawing/2014/main" val="1376771834"/>
                    </a:ext>
                  </a:extLst>
                </a:gridCol>
                <a:gridCol w="1149100">
                  <a:extLst>
                    <a:ext uri="{9D8B030D-6E8A-4147-A177-3AD203B41FA5}">
                      <a16:colId xmlns:a16="http://schemas.microsoft.com/office/drawing/2014/main" val="3382038692"/>
                    </a:ext>
                  </a:extLst>
                </a:gridCol>
                <a:gridCol w="1149100">
                  <a:extLst>
                    <a:ext uri="{9D8B030D-6E8A-4147-A177-3AD203B41FA5}">
                      <a16:colId xmlns:a16="http://schemas.microsoft.com/office/drawing/2014/main" val="1343665583"/>
                    </a:ext>
                  </a:extLst>
                </a:gridCol>
                <a:gridCol w="1149100">
                  <a:extLst>
                    <a:ext uri="{9D8B030D-6E8A-4147-A177-3AD203B41FA5}">
                      <a16:colId xmlns:a16="http://schemas.microsoft.com/office/drawing/2014/main" val="2953091527"/>
                    </a:ext>
                  </a:extLst>
                </a:gridCol>
                <a:gridCol w="1149100">
                  <a:extLst>
                    <a:ext uri="{9D8B030D-6E8A-4147-A177-3AD203B41FA5}">
                      <a16:colId xmlns:a16="http://schemas.microsoft.com/office/drawing/2014/main" val="2237076647"/>
                    </a:ext>
                  </a:extLst>
                </a:gridCol>
                <a:gridCol w="1149100">
                  <a:extLst>
                    <a:ext uri="{9D8B030D-6E8A-4147-A177-3AD203B41FA5}">
                      <a16:colId xmlns:a16="http://schemas.microsoft.com/office/drawing/2014/main" val="4062990837"/>
                    </a:ext>
                  </a:extLst>
                </a:gridCol>
              </a:tblGrid>
              <a:tr h="766336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StreetDeck</a:t>
                      </a:r>
                      <a:r>
                        <a:rPr lang="en-US" dirty="0"/>
                        <a:t> DD </a:t>
                      </a:r>
                      <a:r>
                        <a:rPr lang="en-US" dirty="0" err="1"/>
                        <a:t>Electroliner</a:t>
                      </a:r>
                      <a:endParaRPr lang="en-US" dirty="0"/>
                    </a:p>
                    <a:p>
                      <a:pPr algn="ctr"/>
                      <a:r>
                        <a:rPr lang="en-US" dirty="0"/>
                        <a:t>10.6m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dirty="0"/>
                        <a:t>GB Kite SD Electroliner</a:t>
                      </a:r>
                    </a:p>
                    <a:p>
                      <a:pPr algn="ctr"/>
                      <a:r>
                        <a:rPr lang="en-US" dirty="0"/>
                        <a:t>11.6m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GB Kite SD </a:t>
                      </a:r>
                      <a:r>
                        <a:rPr lang="en-US" dirty="0" err="1"/>
                        <a:t>Electroliner</a:t>
                      </a:r>
                      <a:endParaRPr lang="en-US" dirty="0"/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12.5m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67847217"/>
                  </a:ext>
                </a:extLst>
              </a:tr>
              <a:tr h="437907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6350" cap="flat" cmpd="sng" algn="ctr">
                      <a:noFill/>
                      <a:prstDash val="solid"/>
                      <a:miter lim="800000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0kW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54kW</a:t>
                      </a:r>
                    </a:p>
                  </a:txBody>
                  <a:tcPr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0kW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454kW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45KW</a:t>
                      </a:r>
                    </a:p>
                  </a:txBody>
                  <a:tcPr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0kW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454kW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45KW</a:t>
                      </a:r>
                    </a:p>
                  </a:txBody>
                  <a:tcPr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66472205"/>
                  </a:ext>
                </a:extLst>
              </a:tr>
              <a:tr h="447096">
                <a:tc>
                  <a:txBody>
                    <a:bodyPr/>
                    <a:lstStyle/>
                    <a:p>
                      <a:r>
                        <a:rPr lang="en-US" b="1" dirty="0"/>
                        <a:t>Maximum Capacity</a:t>
                      </a:r>
                    </a:p>
                  </a:txBody>
                  <a:tcPr>
                    <a:lnL w="6350" cap="flat" cmpd="sng" algn="ctr">
                      <a:noFill/>
                      <a:prstDash val="solid"/>
                      <a:miter lim="800000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6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8</a:t>
                      </a:r>
                    </a:p>
                  </a:txBody>
                  <a:tcPr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8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2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70</a:t>
                      </a:r>
                    </a:p>
                  </a:txBody>
                  <a:tcPr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8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5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73</a:t>
                      </a:r>
                    </a:p>
                  </a:txBody>
                  <a:tcPr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93263564"/>
                  </a:ext>
                </a:extLst>
              </a:tr>
              <a:tr h="470758">
                <a:tc>
                  <a:txBody>
                    <a:bodyPr/>
                    <a:lstStyle/>
                    <a:p>
                      <a:r>
                        <a:rPr lang="en-US" b="1" dirty="0"/>
                        <a:t>Maximum Seated</a:t>
                      </a:r>
                    </a:p>
                  </a:txBody>
                  <a:tcPr>
                    <a:lnL w="6350" cap="flat" cmpd="sng" algn="ctr">
                      <a:noFill/>
                      <a:prstDash val="solid"/>
                      <a:miter lim="800000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74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74</a:t>
                      </a:r>
                    </a:p>
                  </a:txBody>
                  <a:tcPr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Up to 34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Up to 34</a:t>
                      </a:r>
                      <a:endParaRPr kumimoji="0" lang="en-US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Up to 34</a:t>
                      </a:r>
                      <a:endParaRPr kumimoji="0" lang="en-US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Up to 3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8048586"/>
                  </a:ext>
                </a:extLst>
              </a:tr>
              <a:tr h="438540">
                <a:tc>
                  <a:txBody>
                    <a:bodyPr/>
                    <a:lstStyle/>
                    <a:p>
                      <a:r>
                        <a:rPr lang="en-US" b="1" dirty="0"/>
                        <a:t>Range</a:t>
                      </a:r>
                    </a:p>
                  </a:txBody>
                  <a:tcPr>
                    <a:lnL w="6350" cap="flat" cmpd="sng" algn="ctr">
                      <a:noFill/>
                      <a:prstDash val="solid"/>
                      <a:miter lim="800000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50miles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0miles</a:t>
                      </a:r>
                    </a:p>
                  </a:txBody>
                  <a:tcPr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50miles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0miles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50miles</a:t>
                      </a:r>
                    </a:p>
                  </a:txBody>
                  <a:tcPr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50miles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0miles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50miles</a:t>
                      </a:r>
                    </a:p>
                  </a:txBody>
                  <a:tcPr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73949082"/>
                  </a:ext>
                </a:extLst>
              </a:tr>
            </a:tbl>
          </a:graphicData>
        </a:graphic>
      </p:graphicFrame>
      <p:pic>
        <p:nvPicPr>
          <p:cNvPr id="5" name="Content Placeholder 7">
            <a:extLst>
              <a:ext uri="{FF2B5EF4-FFF2-40B4-BE49-F238E27FC236}">
                <a16:creationId xmlns:a16="http://schemas.microsoft.com/office/drawing/2014/main" id="{F27F5010-C3EF-4693-A0AD-DC02EAC5BA0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8967" t="52257" r="28234" b="23599"/>
          <a:stretch/>
        </p:blipFill>
        <p:spPr>
          <a:xfrm>
            <a:off x="2582778" y="4168443"/>
            <a:ext cx="7026444" cy="2229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7144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604A3C8-B6CF-4C4D-B425-7C6FFA8C21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7568" y="333041"/>
            <a:ext cx="10515600" cy="1062622"/>
          </a:xfrm>
        </p:spPr>
        <p:txBody>
          <a:bodyPr/>
          <a:lstStyle/>
          <a:p>
            <a:r>
              <a:rPr lang="en-US" dirty="0"/>
              <a:t>Hydroliner (Fuel Cell)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F92513BA-3D7D-45FD-A268-987C215436F0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35947" y="1607807"/>
          <a:ext cx="10826413" cy="2447999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878051">
                  <a:extLst>
                    <a:ext uri="{9D8B030D-6E8A-4147-A177-3AD203B41FA5}">
                      <a16:colId xmlns:a16="http://schemas.microsoft.com/office/drawing/2014/main" val="725227163"/>
                    </a:ext>
                  </a:extLst>
                </a:gridCol>
                <a:gridCol w="3974181">
                  <a:extLst>
                    <a:ext uri="{9D8B030D-6E8A-4147-A177-3AD203B41FA5}">
                      <a16:colId xmlns:a16="http://schemas.microsoft.com/office/drawing/2014/main" val="3351133704"/>
                    </a:ext>
                  </a:extLst>
                </a:gridCol>
                <a:gridCol w="3974181">
                  <a:extLst>
                    <a:ext uri="{9D8B030D-6E8A-4147-A177-3AD203B41FA5}">
                      <a16:colId xmlns:a16="http://schemas.microsoft.com/office/drawing/2014/main" val="1376771834"/>
                    </a:ext>
                  </a:extLst>
                </a:gridCol>
              </a:tblGrid>
              <a:tr h="699101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treetDeck Hydroliner</a:t>
                      </a:r>
                    </a:p>
                    <a:p>
                      <a:pPr algn="ctr"/>
                      <a:r>
                        <a:rPr lang="en-US" dirty="0"/>
                        <a:t>10.9m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GB Kite Hydroliner</a:t>
                      </a:r>
                    </a:p>
                    <a:p>
                      <a:pPr algn="ctr"/>
                      <a:r>
                        <a:rPr lang="en-US" dirty="0"/>
                        <a:t>10.9m / 11.6m / 12.4m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67847217"/>
                  </a:ext>
                </a:extLst>
              </a:tr>
              <a:tr h="368189">
                <a:tc>
                  <a:txBody>
                    <a:bodyPr/>
                    <a:lstStyle/>
                    <a:p>
                      <a:r>
                        <a:rPr lang="en-US" b="1" dirty="0"/>
                        <a:t>Maximum Capacity</a:t>
                      </a:r>
                    </a:p>
                  </a:txBody>
                  <a:tcPr>
                    <a:lnL w="6350" cap="flat" cmpd="sng" algn="ctr">
                      <a:noFill/>
                      <a:prstDash val="solid"/>
                      <a:miter lim="800000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6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Up to 90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93263564"/>
                  </a:ext>
                </a:extLst>
              </a:tr>
              <a:tr h="368189">
                <a:tc>
                  <a:txBody>
                    <a:bodyPr/>
                    <a:lstStyle/>
                    <a:p>
                      <a:r>
                        <a:rPr lang="en-US" b="1" dirty="0"/>
                        <a:t>Maximum Seated</a:t>
                      </a:r>
                    </a:p>
                  </a:txBody>
                  <a:tcPr>
                    <a:lnL w="6350" cap="flat" cmpd="sng" algn="ctr">
                      <a:noFill/>
                      <a:prstDash val="solid"/>
                      <a:miter lim="800000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5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Up to 44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98048586"/>
                  </a:ext>
                </a:extLst>
              </a:tr>
              <a:tr h="644331">
                <a:tc>
                  <a:txBody>
                    <a:bodyPr/>
                    <a:lstStyle/>
                    <a:p>
                      <a:r>
                        <a:rPr lang="en-US" b="1" dirty="0"/>
                        <a:t>Range</a:t>
                      </a:r>
                    </a:p>
                  </a:txBody>
                  <a:tcPr>
                    <a:lnL w="6350" cap="flat" cmpd="sng" algn="ctr">
                      <a:noFill/>
                      <a:prstDash val="solid"/>
                      <a:miter lim="800000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Up to 300Miles</a:t>
                      </a:r>
                    </a:p>
                    <a:p>
                      <a:pPr algn="ctr"/>
                      <a:r>
                        <a:rPr lang="en-US" dirty="0"/>
                        <a:t>(Specification Dependent)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Up to 500 miles</a:t>
                      </a:r>
                    </a:p>
                    <a:p>
                      <a:pPr algn="ctr"/>
                      <a:r>
                        <a:rPr lang="en-US" dirty="0"/>
                        <a:t>(Specification Dependent)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73949082"/>
                  </a:ext>
                </a:extLst>
              </a:tr>
              <a:tr h="368189">
                <a:tc>
                  <a:txBody>
                    <a:bodyPr/>
                    <a:lstStyle/>
                    <a:p>
                      <a:r>
                        <a:rPr lang="en-US" b="1" dirty="0"/>
                        <a:t>Refuel Time</a:t>
                      </a:r>
                    </a:p>
                  </a:txBody>
                  <a:tcPr>
                    <a:lnL w="6350" cap="flat" cmpd="sng" algn="ctr">
                      <a:noFill/>
                      <a:prstDash val="solid"/>
                      <a:miter lim="800000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Under 8 Minutes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Under 8 Minutes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62721559"/>
                  </a:ext>
                </a:extLst>
              </a:tr>
            </a:tbl>
          </a:graphicData>
        </a:graphic>
      </p:graphicFrame>
      <p:pic>
        <p:nvPicPr>
          <p:cNvPr id="14" name="Picture 13" descr="A double decker bus parked on the side of a road&#10;&#10;Description automatically generated with medium confidence">
            <a:extLst>
              <a:ext uri="{FF2B5EF4-FFF2-40B4-BE49-F238E27FC236}">
                <a16:creationId xmlns:a16="http://schemas.microsoft.com/office/drawing/2014/main" id="{1AEEBA56-BA8E-496E-88B4-3CE01E6BA4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2905" y="4436093"/>
            <a:ext cx="3133299" cy="2088866"/>
          </a:xfrm>
          <a:prstGeom prst="rect">
            <a:avLst/>
          </a:prstGeom>
        </p:spPr>
      </p:pic>
      <p:pic>
        <p:nvPicPr>
          <p:cNvPr id="1026" name="Picture 2" descr="See the source image">
            <a:extLst>
              <a:ext uri="{FF2B5EF4-FFF2-40B4-BE49-F238E27FC236}">
                <a16:creationId xmlns:a16="http://schemas.microsoft.com/office/drawing/2014/main" id="{61FA723B-5AA2-4E8C-8F41-3A646B5E06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8012" y="4550534"/>
            <a:ext cx="4418753" cy="1907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601308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 descr="A large brick building&#10;&#10;Description automatically generated with low confidence">
            <a:extLst>
              <a:ext uri="{FF2B5EF4-FFF2-40B4-BE49-F238E27FC236}">
                <a16:creationId xmlns:a16="http://schemas.microsoft.com/office/drawing/2014/main" id="{CB8668E3-7412-C242-AAE2-2E5B6C44DAD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2155" y="-43101"/>
            <a:ext cx="5537981" cy="6945916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56BF3E9F-A9E0-B346-BCAD-FB5B9232BD5D}"/>
              </a:ext>
            </a:extLst>
          </p:cNvPr>
          <p:cNvSpPr txBox="1"/>
          <p:nvPr/>
        </p:nvSpPr>
        <p:spPr>
          <a:xfrm>
            <a:off x="467360" y="250428"/>
            <a:ext cx="53488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Business Overview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4AFC6D2-A480-C148-89C1-A12C4891F6A6}"/>
              </a:ext>
            </a:extLst>
          </p:cNvPr>
          <p:cNvSpPr txBox="1"/>
          <p:nvPr/>
        </p:nvSpPr>
        <p:spPr>
          <a:xfrm>
            <a:off x="467360" y="1903751"/>
            <a:ext cx="95769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ens University Belfast</a:t>
            </a:r>
          </a:p>
        </p:txBody>
      </p:sp>
      <p:pic>
        <p:nvPicPr>
          <p:cNvPr id="21" name="Picture 2" descr="page30image24161344">
            <a:extLst>
              <a:ext uri="{FF2B5EF4-FFF2-40B4-BE49-F238E27FC236}">
                <a16:creationId xmlns:a16="http://schemas.microsoft.com/office/drawing/2014/main" id="{07A54918-8487-504E-B43F-CE43B1A9BD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919583"/>
            <a:ext cx="12220136" cy="369333"/>
          </a:xfrm>
          <a:prstGeom prst="rect">
            <a:avLst/>
          </a:prstGeom>
          <a:solidFill>
            <a:srgbClr val="2FD03D"/>
          </a:solidFill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C5AFF89-1846-624E-A8B4-C621353411D6}"/>
              </a:ext>
            </a:extLst>
          </p:cNvPr>
          <p:cNvCxnSpPr/>
          <p:nvPr/>
        </p:nvCxnSpPr>
        <p:spPr>
          <a:xfrm>
            <a:off x="510312" y="1006470"/>
            <a:ext cx="1046480" cy="0"/>
          </a:xfrm>
          <a:prstGeom prst="line">
            <a:avLst/>
          </a:prstGeom>
          <a:ln>
            <a:solidFill>
              <a:srgbClr val="2FD03D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843809E3-55F6-3041-A84C-AC81273F2B1B}"/>
              </a:ext>
            </a:extLst>
          </p:cNvPr>
          <p:cNvSpPr txBox="1"/>
          <p:nvPr/>
        </p:nvSpPr>
        <p:spPr>
          <a:xfrm>
            <a:off x="497060" y="2786700"/>
            <a:ext cx="38709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mford Technology Centre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1CA31BC-9CE8-1F47-81C7-19C1C4BFE293}"/>
              </a:ext>
            </a:extLst>
          </p:cNvPr>
          <p:cNvCxnSpPr/>
          <p:nvPr/>
        </p:nvCxnSpPr>
        <p:spPr>
          <a:xfrm>
            <a:off x="5913120" y="7589520"/>
            <a:ext cx="0" cy="136144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3049C18-3023-2C42-ADB4-6A808237E1D9}"/>
              </a:ext>
            </a:extLst>
          </p:cNvPr>
          <p:cNvCxnSpPr/>
          <p:nvPr/>
        </p:nvCxnSpPr>
        <p:spPr>
          <a:xfrm>
            <a:off x="3129280" y="7604840"/>
            <a:ext cx="0" cy="136144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D4B322E0-4FAF-994E-8C6D-DFAE66DFBA2A}"/>
              </a:ext>
            </a:extLst>
          </p:cNvPr>
          <p:cNvSpPr txBox="1"/>
          <p:nvPr/>
        </p:nvSpPr>
        <p:spPr>
          <a:xfrm>
            <a:off x="3302000" y="7757239"/>
            <a:ext cx="23266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endParaRPr lang="en-US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4E40F9A-E1B0-E847-B150-390B95509F73}"/>
              </a:ext>
            </a:extLst>
          </p:cNvPr>
          <p:cNvSpPr txBox="1"/>
          <p:nvPr/>
        </p:nvSpPr>
        <p:spPr>
          <a:xfrm>
            <a:off x="589280" y="7757240"/>
            <a:ext cx="23266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endParaRPr lang="en-US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40CFC0B-91CB-0B4C-BF10-43FA92B7FAF2}"/>
              </a:ext>
            </a:extLst>
          </p:cNvPr>
          <p:cNvSpPr txBox="1"/>
          <p:nvPr/>
        </p:nvSpPr>
        <p:spPr>
          <a:xfrm>
            <a:off x="6126479" y="7752239"/>
            <a:ext cx="23266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endParaRPr lang="en-US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DEA488E-9728-C64C-A53D-39D9D88A2FBD}"/>
              </a:ext>
            </a:extLst>
          </p:cNvPr>
          <p:cNvSpPr txBox="1"/>
          <p:nvPr/>
        </p:nvSpPr>
        <p:spPr>
          <a:xfrm>
            <a:off x="589280" y="8188960"/>
            <a:ext cx="14224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98A6F0A-A9C7-3D43-80B3-1B7667D0515D}"/>
              </a:ext>
            </a:extLst>
          </p:cNvPr>
          <p:cNvSpPr txBox="1"/>
          <p:nvPr/>
        </p:nvSpPr>
        <p:spPr>
          <a:xfrm>
            <a:off x="3403602" y="8160959"/>
            <a:ext cx="14224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EB53CF8-3C65-7B4B-93D4-538F33DBB883}"/>
              </a:ext>
            </a:extLst>
          </p:cNvPr>
          <p:cNvSpPr txBox="1"/>
          <p:nvPr/>
        </p:nvSpPr>
        <p:spPr>
          <a:xfrm>
            <a:off x="6146799" y="8160959"/>
            <a:ext cx="14224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</a:t>
            </a:r>
          </a:p>
        </p:txBody>
      </p:sp>
      <p:pic>
        <p:nvPicPr>
          <p:cNvPr id="32" name="Picture 31" descr="Icon&#10;&#10;Description automatically generated">
            <a:extLst>
              <a:ext uri="{FF2B5EF4-FFF2-40B4-BE49-F238E27FC236}">
                <a16:creationId xmlns:a16="http://schemas.microsoft.com/office/drawing/2014/main" id="{AA1F38C6-B26B-F14D-A4C4-3FFA5037760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70093" y="324781"/>
            <a:ext cx="2501379" cy="897734"/>
          </a:xfrm>
          <a:prstGeom prst="rect">
            <a:avLst/>
          </a:prstGeom>
        </p:spPr>
      </p:pic>
      <p:graphicFrame>
        <p:nvGraphicFramePr>
          <p:cNvPr id="37" name="Diagram 36">
            <a:extLst>
              <a:ext uri="{FF2B5EF4-FFF2-40B4-BE49-F238E27FC236}">
                <a16:creationId xmlns:a16="http://schemas.microsoft.com/office/drawing/2014/main" id="{BBBDCA49-AD7A-5742-8CBD-A7645FF1666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45084683"/>
              </p:ext>
            </p:extLst>
          </p:nvPr>
        </p:nvGraphicFramePr>
        <p:xfrm>
          <a:off x="431021" y="2257694"/>
          <a:ext cx="11540447" cy="61408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38" name="TextBox 37">
            <a:extLst>
              <a:ext uri="{FF2B5EF4-FFF2-40B4-BE49-F238E27FC236}">
                <a16:creationId xmlns:a16="http://schemas.microsoft.com/office/drawing/2014/main" id="{CAFBCC5F-5ED3-6640-BAD3-89E988B37691}"/>
              </a:ext>
            </a:extLst>
          </p:cNvPr>
          <p:cNvSpPr txBox="1"/>
          <p:nvPr/>
        </p:nvSpPr>
        <p:spPr>
          <a:xfrm>
            <a:off x="1666240" y="4941545"/>
            <a:ext cx="100380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ulting on HEV’s and Drivetrain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657E413-C579-F04F-A4B9-9808ADDF2E31}"/>
              </a:ext>
            </a:extLst>
          </p:cNvPr>
          <p:cNvSpPr txBox="1"/>
          <p:nvPr/>
        </p:nvSpPr>
        <p:spPr>
          <a:xfrm>
            <a:off x="2756645" y="4941545"/>
            <a:ext cx="1003808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ded research project: Drive cycle modelling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FF9FFB1F-09E9-1945-8145-1C9959CFEEBC}"/>
              </a:ext>
            </a:extLst>
          </p:cNvPr>
          <p:cNvSpPr txBox="1"/>
          <p:nvPr/>
        </p:nvSpPr>
        <p:spPr>
          <a:xfrm>
            <a:off x="3963416" y="4941545"/>
            <a:ext cx="1003808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ybrid modelling for 3</a:t>
            </a:r>
            <a:r>
              <a:rPr lang="en-US" sz="1100" baseline="30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d</a:t>
            </a:r>
            <a:r>
              <a:rPr lang="en-US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eneration HEV’s and New </a:t>
            </a:r>
            <a:r>
              <a:rPr lang="en-US" sz="11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utemaster</a:t>
            </a:r>
            <a:endParaRPr lang="en-US" sz="1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AD8CE9B-0123-B449-807C-F2EF05880B5B}"/>
              </a:ext>
            </a:extLst>
          </p:cNvPr>
          <p:cNvSpPr txBox="1"/>
          <p:nvPr/>
        </p:nvSpPr>
        <p:spPr>
          <a:xfrm>
            <a:off x="5126736" y="4950172"/>
            <a:ext cx="100380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SB &amp; KTP funded project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84FD9CF-EB87-3442-A8F3-336BCDCCBD97}"/>
              </a:ext>
            </a:extLst>
          </p:cNvPr>
          <p:cNvSpPr txBox="1"/>
          <p:nvPr/>
        </p:nvSpPr>
        <p:spPr>
          <a:xfrm>
            <a:off x="6297870" y="4950172"/>
            <a:ext cx="100380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-Tech Centre official opening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57BDEC5-05EA-B946-800F-4877F1887A9B}"/>
              </a:ext>
            </a:extLst>
          </p:cNvPr>
          <p:cNvSpPr txBox="1"/>
          <p:nvPr/>
        </p:nvSpPr>
        <p:spPr>
          <a:xfrm>
            <a:off x="7495811" y="4950172"/>
            <a:ext cx="100380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P13 and 14 funded Powertrain Project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9C738E5-D94B-5741-A4D4-34AE39A8A2D6}"/>
              </a:ext>
            </a:extLst>
          </p:cNvPr>
          <p:cNvSpPr txBox="1"/>
          <p:nvPr/>
        </p:nvSpPr>
        <p:spPr>
          <a:xfrm>
            <a:off x="8632324" y="4950172"/>
            <a:ext cx="104734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named The Bamford Technology Centr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44DA13C-AFFA-294D-9A66-BCE2DBD3B292}"/>
              </a:ext>
            </a:extLst>
          </p:cNvPr>
          <p:cNvSpPr txBox="1"/>
          <p:nvPr/>
        </p:nvSpPr>
        <p:spPr>
          <a:xfrm>
            <a:off x="9819640" y="4950172"/>
            <a:ext cx="104734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C </a:t>
            </a:r>
          </a:p>
          <a:p>
            <a:r>
              <a:rPr lang="en-US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MD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BBD22F13-550A-464E-BB02-351484926268}"/>
              </a:ext>
            </a:extLst>
          </p:cNvPr>
          <p:cNvSpPr txBox="1"/>
          <p:nvPr/>
        </p:nvSpPr>
        <p:spPr>
          <a:xfrm>
            <a:off x="10946459" y="4950172"/>
            <a:ext cx="104734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C </a:t>
            </a:r>
          </a:p>
          <a:p>
            <a:r>
              <a:rPr lang="en-US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xt Generation</a:t>
            </a:r>
          </a:p>
          <a:p>
            <a:r>
              <a:rPr lang="en-US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CEV</a:t>
            </a:r>
          </a:p>
        </p:txBody>
      </p:sp>
      <p:pic>
        <p:nvPicPr>
          <p:cNvPr id="48" name="Picture 47" descr="Logo, company name&#10;&#10;Description automatically generated">
            <a:extLst>
              <a:ext uri="{FF2B5EF4-FFF2-40B4-BE49-F238E27FC236}">
                <a16:creationId xmlns:a16="http://schemas.microsoft.com/office/drawing/2014/main" id="{19400283-1B3A-8E48-9C8B-E8E276F97D71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59177" y="165864"/>
            <a:ext cx="1455333" cy="179201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4A42735-0F99-9241-B271-1707E24D13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3983F-CF44-6144-9232-74BD3EAC5094}" type="slidenum">
              <a:rPr lang="en-US" smtClean="0">
                <a:solidFill>
                  <a:schemeClr val="bg1"/>
                </a:solidFill>
              </a:rPr>
              <a:t>9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07804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763</TotalTime>
  <Words>1349</Words>
  <Application>Microsoft Office PowerPoint</Application>
  <PresentationFormat>Widescreen</PresentationFormat>
  <Paragraphs>265</Paragraphs>
  <Slides>1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3" baseType="lpstr">
      <vt:lpstr>Arial</vt:lpstr>
      <vt:lpstr>Calibri</vt:lpstr>
      <vt:lpstr>Calibri Light</vt:lpstr>
      <vt:lpstr>Courier New</vt:lpstr>
      <vt:lpstr>Monument Extended</vt:lpstr>
      <vt:lpstr>Nexa Black</vt:lpstr>
      <vt:lpstr>Nexa Bold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lectroliner (Battery Electric)</vt:lpstr>
      <vt:lpstr>Hydroliner (Fuel Cell)</vt:lpstr>
      <vt:lpstr>PowerPoint Presentation</vt:lpstr>
      <vt:lpstr>PowerPoint Presentation</vt:lpstr>
      <vt:lpstr>PowerPoint Presentation</vt:lpstr>
      <vt:lpstr>FUZE LEASE &amp; Asset MANAGEMENT – ‘ENABLING the ecosystem’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len Campbell</dc:creator>
  <cp:lastModifiedBy>Tom Greenshields</cp:lastModifiedBy>
  <cp:revision>80</cp:revision>
  <dcterms:created xsi:type="dcterms:W3CDTF">2021-09-28T11:34:24Z</dcterms:created>
  <dcterms:modified xsi:type="dcterms:W3CDTF">2022-02-02T12:00:32Z</dcterms:modified>
</cp:coreProperties>
</file>